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4"/>
    <p:sldMasterId id="2147483652" r:id="rId5"/>
    <p:sldMasterId id="2147483654" r:id="rId6"/>
    <p:sldMasterId id="2147483708" r:id="rId7"/>
  </p:sldMasterIdLst>
  <p:notesMasterIdLst>
    <p:notesMasterId r:id="rId9"/>
  </p:notesMasterIdLst>
  <p:sldIdLst>
    <p:sldId id="355" r:id="rId8"/>
  </p:sldIdLst>
  <p:sldSz cx="10058400" cy="77724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57058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114117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71175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228234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852928" algn="l" defTabSz="570586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3423514" algn="l" defTabSz="570586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994099" algn="l" defTabSz="570586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4564685" algn="l" defTabSz="570586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48">
          <p15:clr>
            <a:srgbClr val="A4A3A4"/>
          </p15:clr>
        </p15:guide>
        <p15:guide id="2" pos="31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08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430255-BFD4-4AEB-952B-CE9AD574D50A}" v="3" dt="2020-10-29T21:20:59.56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28" y="-716"/>
      </p:cViewPr>
      <p:guideLst>
        <p:guide orient="horz" pos="2448"/>
        <p:guide pos="3168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urst, Julie" userId="75785f1c-d9ff-4159-b14a-ca24e11daa1a" providerId="ADAL" clId="{B1430255-BFD4-4AEB-952B-CE9AD574D50A}"/>
    <pc:docChg chg="undo custSel modSld">
      <pc:chgData name="Hurst, Julie" userId="75785f1c-d9ff-4159-b14a-ca24e11daa1a" providerId="ADAL" clId="{B1430255-BFD4-4AEB-952B-CE9AD574D50A}" dt="2020-10-29T21:21:41.225" v="30" actId="1076"/>
      <pc:docMkLst>
        <pc:docMk/>
      </pc:docMkLst>
      <pc:sldChg chg="addSp delSp modSp">
        <pc:chgData name="Hurst, Julie" userId="75785f1c-d9ff-4159-b14a-ca24e11daa1a" providerId="ADAL" clId="{B1430255-BFD4-4AEB-952B-CE9AD574D50A}" dt="2020-10-29T21:21:41.225" v="30" actId="1076"/>
        <pc:sldMkLst>
          <pc:docMk/>
          <pc:sldMk cId="4035363141" sldId="355"/>
        </pc:sldMkLst>
        <pc:spChg chg="del mod">
          <ac:chgData name="Hurst, Julie" userId="75785f1c-d9ff-4159-b14a-ca24e11daa1a" providerId="ADAL" clId="{B1430255-BFD4-4AEB-952B-CE9AD574D50A}" dt="2020-10-29T21:21:04.763" v="26"/>
          <ac:spMkLst>
            <pc:docMk/>
            <pc:sldMk cId="4035363141" sldId="355"/>
            <ac:spMk id="166" creationId="{C657B9C0-135C-4D08-A562-AB11B48E46EF}"/>
          </ac:spMkLst>
        </pc:spChg>
        <pc:spChg chg="del mod">
          <ac:chgData name="Hurst, Julie" userId="75785f1c-d9ff-4159-b14a-ca24e11daa1a" providerId="ADAL" clId="{B1430255-BFD4-4AEB-952B-CE9AD574D50A}" dt="2020-10-29T21:20:42.182" v="20"/>
          <ac:spMkLst>
            <pc:docMk/>
            <pc:sldMk cId="4035363141" sldId="355"/>
            <ac:spMk id="167" creationId="{6C9D74E3-F451-4BCF-BA53-9E7ED2E0912E}"/>
          </ac:spMkLst>
        </pc:spChg>
        <pc:spChg chg="del mod">
          <ac:chgData name="Hurst, Julie" userId="75785f1c-d9ff-4159-b14a-ca24e11daa1a" providerId="ADAL" clId="{B1430255-BFD4-4AEB-952B-CE9AD574D50A}" dt="2020-10-29T21:19:16.061" v="5"/>
          <ac:spMkLst>
            <pc:docMk/>
            <pc:sldMk cId="4035363141" sldId="355"/>
            <ac:spMk id="168" creationId="{BFCAF574-7930-4E8E-994C-D62FA0D1BE12}"/>
          </ac:spMkLst>
        </pc:spChg>
        <pc:spChg chg="mod">
          <ac:chgData name="Hurst, Julie" userId="75785f1c-d9ff-4159-b14a-ca24e11daa1a" providerId="ADAL" clId="{B1430255-BFD4-4AEB-952B-CE9AD574D50A}" dt="2020-10-29T21:19:52.372" v="15" actId="1076"/>
          <ac:spMkLst>
            <pc:docMk/>
            <pc:sldMk cId="4035363141" sldId="355"/>
            <ac:spMk id="171" creationId="{D1E0D68B-A70F-4C07-9233-EEB5D521DC6B}"/>
          </ac:spMkLst>
        </pc:spChg>
        <pc:spChg chg="del mod">
          <ac:chgData name="Hurst, Julie" userId="75785f1c-d9ff-4159-b14a-ca24e11daa1a" providerId="ADAL" clId="{B1430255-BFD4-4AEB-952B-CE9AD574D50A}" dt="2020-10-29T21:19:16.058" v="3"/>
          <ac:spMkLst>
            <pc:docMk/>
            <pc:sldMk cId="4035363141" sldId="355"/>
            <ac:spMk id="172" creationId="{5805ECD8-F02E-4E8C-A372-F9F3C0BD3C72}"/>
          </ac:spMkLst>
        </pc:spChg>
        <pc:spChg chg="del">
          <ac:chgData name="Hurst, Julie" userId="75785f1c-d9ff-4159-b14a-ca24e11daa1a" providerId="ADAL" clId="{B1430255-BFD4-4AEB-952B-CE9AD574D50A}" dt="2020-10-29T21:20:15.926" v="16" actId="478"/>
          <ac:spMkLst>
            <pc:docMk/>
            <pc:sldMk cId="4035363141" sldId="355"/>
            <ac:spMk id="176" creationId="{09B101AA-8892-4E9C-9084-FC52DD6C5FE7}"/>
          </ac:spMkLst>
        </pc:spChg>
        <pc:spChg chg="mod">
          <ac:chgData name="Hurst, Julie" userId="75785f1c-d9ff-4159-b14a-ca24e11daa1a" providerId="ADAL" clId="{B1430255-BFD4-4AEB-952B-CE9AD574D50A}" dt="2020-10-29T21:20:20.406" v="17" actId="6549"/>
          <ac:spMkLst>
            <pc:docMk/>
            <pc:sldMk cId="4035363141" sldId="355"/>
            <ac:spMk id="476" creationId="{FC8D9F8A-65E7-421B-9EDC-407E084B02E5}"/>
          </ac:spMkLst>
        </pc:spChg>
        <pc:spChg chg="mod">
          <ac:chgData name="Hurst, Julie" userId="75785f1c-d9ff-4159-b14a-ca24e11daa1a" providerId="ADAL" clId="{B1430255-BFD4-4AEB-952B-CE9AD574D50A}" dt="2020-10-29T21:21:08.850" v="27" actId="6549"/>
          <ac:spMkLst>
            <pc:docMk/>
            <pc:sldMk cId="4035363141" sldId="355"/>
            <ac:spMk id="515" creationId="{467C3B2A-7685-49DA-8DB2-5220D6AFF056}"/>
          </ac:spMkLst>
        </pc:spChg>
        <pc:spChg chg="add del">
          <ac:chgData name="Hurst, Julie" userId="75785f1c-d9ff-4159-b14a-ca24e11daa1a" providerId="ADAL" clId="{B1430255-BFD4-4AEB-952B-CE9AD574D50A}" dt="2020-10-29T21:21:22.887" v="29" actId="478"/>
          <ac:spMkLst>
            <pc:docMk/>
            <pc:sldMk cId="4035363141" sldId="355"/>
            <ac:spMk id="518" creationId="{082BE248-C7A9-4AEB-B7C4-3FE3B311A9D7}"/>
          </ac:spMkLst>
        </pc:spChg>
        <pc:spChg chg="mod">
          <ac:chgData name="Hurst, Julie" userId="75785f1c-d9ff-4159-b14a-ca24e11daa1a" providerId="ADAL" clId="{B1430255-BFD4-4AEB-952B-CE9AD574D50A}" dt="2020-10-29T21:19:51.508" v="14" actId="14100"/>
          <ac:spMkLst>
            <pc:docMk/>
            <pc:sldMk cId="4035363141" sldId="355"/>
            <ac:spMk id="520" creationId="{70E02406-FFAB-4D45-B6A8-297ACFBC12F4}"/>
          </ac:spMkLst>
        </pc:spChg>
        <pc:grpChg chg="add del mod">
          <ac:chgData name="Hurst, Julie" userId="75785f1c-d9ff-4159-b14a-ca24e11daa1a" providerId="ADAL" clId="{B1430255-BFD4-4AEB-952B-CE9AD574D50A}" dt="2020-10-29T21:20:59.561" v="23" actId="1076"/>
          <ac:grpSpMkLst>
            <pc:docMk/>
            <pc:sldMk cId="4035363141" sldId="355"/>
            <ac:grpSpMk id="369" creationId="{9DCE47D5-E0DA-49EB-AC7F-507D19B1F9B9}"/>
          </ac:grpSpMkLst>
        </pc:grpChg>
        <pc:grpChg chg="mod">
          <ac:chgData name="Hurst, Julie" userId="75785f1c-d9ff-4159-b14a-ca24e11daa1a" providerId="ADAL" clId="{B1430255-BFD4-4AEB-952B-CE9AD574D50A}" dt="2020-10-29T21:20:59.561" v="23" actId="1076"/>
          <ac:grpSpMkLst>
            <pc:docMk/>
            <pc:sldMk cId="4035363141" sldId="355"/>
            <ac:grpSpMk id="370" creationId="{7DB3B947-A30B-4B2F-AF2D-2F5A72A5B833}"/>
          </ac:grpSpMkLst>
        </pc:grpChg>
        <pc:grpChg chg="mod">
          <ac:chgData name="Hurst, Julie" userId="75785f1c-d9ff-4159-b14a-ca24e11daa1a" providerId="ADAL" clId="{B1430255-BFD4-4AEB-952B-CE9AD574D50A}" dt="2020-10-29T21:20:59.561" v="23" actId="1076"/>
          <ac:grpSpMkLst>
            <pc:docMk/>
            <pc:sldMk cId="4035363141" sldId="355"/>
            <ac:grpSpMk id="371" creationId="{50CCD199-218D-4DEC-94E3-DDE458A7E1E9}"/>
          </ac:grpSpMkLst>
        </pc:grpChg>
        <pc:picChg chg="mod">
          <ac:chgData name="Hurst, Julie" userId="75785f1c-d9ff-4159-b14a-ca24e11daa1a" providerId="ADAL" clId="{B1430255-BFD4-4AEB-952B-CE9AD574D50A}" dt="2020-10-29T21:21:41.225" v="30" actId="1076"/>
          <ac:picMkLst>
            <pc:docMk/>
            <pc:sldMk cId="4035363141" sldId="355"/>
            <ac:picMk id="183" creationId="{F010981C-BE03-424B-B102-9EC03766B787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0E02919-3D0F-8A4D-A288-E53F11DEF5B4}" type="datetimeFigureOut">
              <a:rPr lang="en-US"/>
              <a:pPr>
                <a:defRPr/>
              </a:pPr>
              <a:t>10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9675" y="685800"/>
            <a:ext cx="4438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5E413EA-0212-2C4D-8F69-DB276F2A7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2128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570586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1141171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711757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2282342" algn="l" rtl="0" fontAlgn="base">
      <a:spcBef>
        <a:spcPct val="30000"/>
      </a:spcBef>
      <a:spcAft>
        <a:spcPct val="0"/>
      </a:spcAft>
      <a:defRPr sz="15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852928" algn="l" defTabSz="114117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23514" algn="l" defTabSz="114117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994099" algn="l" defTabSz="114117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564685" algn="l" defTabSz="1141171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ansion counties TB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5E413EA-0212-2C4D-8F69-DB276F2A7DD2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283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777241"/>
            <a:ext cx="8549640" cy="3303271"/>
          </a:xfrm>
        </p:spPr>
        <p:txBody>
          <a:bodyPr anchor="b">
            <a:noAutofit/>
          </a:bodyPr>
          <a:lstStyle>
            <a:lvl1pPr algn="l">
              <a:defRPr sz="75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46960" y="4404360"/>
            <a:ext cx="7040880" cy="431800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0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41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11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82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2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94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646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4380" y="4404360"/>
            <a:ext cx="2346960" cy="413809"/>
          </a:xfrm>
        </p:spPr>
        <p:txBody>
          <a:bodyPr/>
          <a:lstStyle>
            <a:lvl1pPr>
              <a:defRPr sz="22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7/29/2014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834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172720"/>
            <a:ext cx="8549640" cy="3389631"/>
          </a:xfrm>
          <a:prstGeom prst="rect">
            <a:avLst/>
          </a:prstGeom>
        </p:spPr>
        <p:txBody>
          <a:bodyPr lIns="114117" tIns="57059" rIns="114117" bIns="57059" anchor="b"/>
          <a:lstStyle>
            <a:lvl1pPr algn="l">
              <a:defRPr sz="55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4380" y="3713480"/>
            <a:ext cx="8549640" cy="1986280"/>
          </a:xfrm>
          <a:prstGeom prst="rect">
            <a:avLst/>
          </a:prstGeom>
        </p:spPr>
        <p:txBody>
          <a:bodyPr lIns="114117" tIns="57059" rIns="114117" bIns="57059"/>
          <a:lstStyle>
            <a:lvl1pPr marL="0" indent="0" algn="l">
              <a:buNone/>
              <a:defRPr sz="2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0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41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11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82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5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2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94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646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7087FF-3EBF-C445-A9EB-5D083A11F2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309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863600"/>
            <a:ext cx="9052560" cy="1036320"/>
          </a:xfrm>
        </p:spPr>
        <p:txBody>
          <a:bodyPr anchor="t">
            <a:normAutofit/>
          </a:bodyPr>
          <a:lstStyle>
            <a:lvl1pPr algn="l">
              <a:defRPr sz="3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2072642"/>
            <a:ext cx="9052560" cy="474980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2920" y="172720"/>
            <a:ext cx="4023360" cy="518160"/>
          </a:xfrm>
        </p:spPr>
        <p:txBody>
          <a:bodyPr/>
          <a:lstStyle>
            <a:lvl1pPr>
              <a:buNone/>
              <a:defRPr sz="20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7208520" y="6995160"/>
            <a:ext cx="2346960" cy="34544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8E3DFB79-095A-C74D-B614-34DE32062E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983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863600"/>
            <a:ext cx="9052560" cy="1036320"/>
          </a:xfrm>
        </p:spPr>
        <p:txBody>
          <a:bodyPr anchor="t">
            <a:normAutofit/>
          </a:bodyPr>
          <a:lstStyle>
            <a:lvl1pPr algn="l">
              <a:defRPr sz="3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2072642"/>
            <a:ext cx="4442460" cy="474980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3020" y="2072642"/>
            <a:ext cx="4442460" cy="474980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defRPr sz="22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2920" y="172720"/>
            <a:ext cx="4023360" cy="518160"/>
          </a:xfrm>
        </p:spPr>
        <p:txBody>
          <a:bodyPr/>
          <a:lstStyle>
            <a:lvl1pPr>
              <a:buNone/>
              <a:defRPr sz="20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7208520" y="6995160"/>
            <a:ext cx="2346960" cy="34544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58EFA644-CDA3-1A4E-95C1-6502758B544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94570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1517" y="5440680"/>
            <a:ext cx="6035040" cy="642304"/>
          </a:xfrm>
        </p:spPr>
        <p:txBody>
          <a:bodyPr anchor="t"/>
          <a:lstStyle>
            <a:lvl1pPr algn="l">
              <a:defRPr sz="25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71517" y="694478"/>
            <a:ext cx="6035040" cy="4663440"/>
          </a:xfrm>
        </p:spPr>
        <p:txBody>
          <a:bodyPr rtlCol="0">
            <a:normAutofit/>
          </a:bodyPr>
          <a:lstStyle>
            <a:lvl1pPr marL="0" indent="0">
              <a:buNone/>
              <a:defRPr sz="4000"/>
            </a:lvl1pPr>
            <a:lvl2pPr marL="570586" indent="0">
              <a:buNone/>
              <a:defRPr sz="3500"/>
            </a:lvl2pPr>
            <a:lvl3pPr marL="1141171" indent="0">
              <a:buNone/>
              <a:defRPr sz="3000"/>
            </a:lvl3pPr>
            <a:lvl4pPr marL="1711757" indent="0">
              <a:buNone/>
              <a:defRPr sz="2500"/>
            </a:lvl4pPr>
            <a:lvl5pPr marL="2282342" indent="0">
              <a:buNone/>
              <a:defRPr sz="2500"/>
            </a:lvl5pPr>
            <a:lvl6pPr marL="2852928" indent="0">
              <a:buNone/>
              <a:defRPr sz="2500"/>
            </a:lvl6pPr>
            <a:lvl7pPr marL="3423514" indent="0">
              <a:buNone/>
              <a:defRPr sz="2500"/>
            </a:lvl7pPr>
            <a:lvl8pPr marL="3994099" indent="0">
              <a:buNone/>
              <a:defRPr sz="2500"/>
            </a:lvl8pPr>
            <a:lvl9pPr marL="4564685" indent="0">
              <a:buNone/>
              <a:defRPr sz="2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71517" y="6082983"/>
            <a:ext cx="6035040" cy="739458"/>
          </a:xfrm>
        </p:spPr>
        <p:txBody>
          <a:bodyPr/>
          <a:lstStyle>
            <a:lvl1pPr marL="0" indent="0">
              <a:buNone/>
              <a:defRPr sz="170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 marL="570586" indent="0">
              <a:buNone/>
              <a:defRPr sz="1500"/>
            </a:lvl2pPr>
            <a:lvl3pPr marL="1141171" indent="0">
              <a:buNone/>
              <a:defRPr sz="1200"/>
            </a:lvl3pPr>
            <a:lvl4pPr marL="1711757" indent="0">
              <a:buNone/>
              <a:defRPr sz="1100"/>
            </a:lvl4pPr>
            <a:lvl5pPr marL="2282342" indent="0">
              <a:buNone/>
              <a:defRPr sz="1100"/>
            </a:lvl5pPr>
            <a:lvl6pPr marL="2852928" indent="0">
              <a:buNone/>
              <a:defRPr sz="1100"/>
            </a:lvl6pPr>
            <a:lvl7pPr marL="3423514" indent="0">
              <a:buNone/>
              <a:defRPr sz="1100"/>
            </a:lvl7pPr>
            <a:lvl8pPr marL="3994099" indent="0">
              <a:buNone/>
              <a:defRPr sz="1100"/>
            </a:lvl8pPr>
            <a:lvl9pPr marL="4564685" indent="0">
              <a:buNone/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2920" y="172720"/>
            <a:ext cx="4023360" cy="518160"/>
          </a:xfrm>
        </p:spPr>
        <p:txBody>
          <a:bodyPr/>
          <a:lstStyle>
            <a:lvl1pPr>
              <a:buNone/>
              <a:defRPr sz="2000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7208520" y="6995160"/>
            <a:ext cx="2346960" cy="34544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8BFD06A5-0391-9B4E-B4DE-23FF247A22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555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863600"/>
            <a:ext cx="9052560" cy="1036320"/>
          </a:xfrm>
        </p:spPr>
        <p:txBody>
          <a:bodyPr anchor="t">
            <a:normAutofit/>
          </a:bodyPr>
          <a:lstStyle>
            <a:lvl1pPr algn="l">
              <a:defRPr sz="2184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2072642"/>
            <a:ext cx="9052560" cy="4749800"/>
          </a:xfrm>
        </p:spPr>
        <p:txBody>
          <a:bodyPr>
            <a:normAutofit/>
          </a:bodyPr>
          <a:lstStyle>
            <a:lvl1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defRPr sz="1601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2920" y="172720"/>
            <a:ext cx="4023360" cy="518160"/>
          </a:xfrm>
        </p:spPr>
        <p:txBody>
          <a:bodyPr/>
          <a:lstStyle>
            <a:lvl1pPr>
              <a:buNone/>
              <a:defRPr sz="1456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7208520" y="6995160"/>
            <a:ext cx="2346960" cy="34544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8E3DFB79-095A-C74D-B614-34DE32062E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447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3425" y="298164"/>
            <a:ext cx="9462057" cy="617976"/>
          </a:xfrm>
          <a:prstGeom prst="rect">
            <a:avLst/>
          </a:prstGeom>
        </p:spPr>
        <p:txBody>
          <a:bodyPr lIns="85579" tIns="42789" rIns="85579" bIns="42789">
            <a:noAutofit/>
          </a:bodyPr>
          <a:lstStyle>
            <a:lvl1pPr algn="l">
              <a:defRPr sz="3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3"/>
          </p:nvPr>
        </p:nvSpPr>
        <p:spPr>
          <a:xfrm>
            <a:off x="128770" y="913465"/>
            <a:ext cx="8424336" cy="472268"/>
          </a:xfrm>
          <a:prstGeom prst="rect">
            <a:avLst/>
          </a:prstGeom>
          <a:noFill/>
        </p:spPr>
        <p:txBody>
          <a:bodyPr lIns="85579" tIns="42789" rIns="85579" bIns="42789">
            <a:normAutofit/>
          </a:bodyPr>
          <a:lstStyle>
            <a:lvl1pPr marL="0" indent="0">
              <a:buNone/>
              <a:defRPr sz="1900" baseline="0">
                <a:solidFill>
                  <a:schemeClr val="accent5">
                    <a:lumMod val="20000"/>
                    <a:lumOff val="80000"/>
                  </a:schemeClr>
                </a:solidFill>
                <a:latin typeface="+mj-lt"/>
              </a:defRPr>
            </a:lvl1pPr>
            <a:lvl2pPr>
              <a:defRPr>
                <a:latin typeface="Myriad Pro" pitchFamily="34" charset="0"/>
              </a:defRPr>
            </a:lvl2pPr>
            <a:lvl3pPr>
              <a:defRPr>
                <a:latin typeface="Myriad Pro" pitchFamily="34" charset="0"/>
              </a:defRPr>
            </a:lvl3pPr>
            <a:lvl4pPr>
              <a:defRPr>
                <a:latin typeface="Myriad Pro" pitchFamily="34" charset="0"/>
              </a:defRPr>
            </a:lvl4pPr>
            <a:lvl5pPr>
              <a:defRPr>
                <a:latin typeface="Myriad Pro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/>
          </p:nvPr>
        </p:nvSpPr>
        <p:spPr>
          <a:xfrm>
            <a:off x="93424" y="6934200"/>
            <a:ext cx="6456720" cy="201507"/>
          </a:xfrm>
          <a:prstGeom prst="rect">
            <a:avLst/>
          </a:prstGeom>
        </p:spPr>
        <p:txBody>
          <a:bodyPr lIns="85579" tIns="42789" rIns="85579" bIns="42789">
            <a:noAutofit/>
          </a:bodyPr>
          <a:lstStyle>
            <a:lvl1pPr marL="0" indent="0">
              <a:buFont typeface="+mj-lt"/>
              <a:buNone/>
              <a:defRPr sz="600">
                <a:solidFill>
                  <a:schemeClr val="accent5">
                    <a:lumMod val="20000"/>
                    <a:lumOff val="8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742879" y="7359712"/>
            <a:ext cx="573951" cy="413809"/>
          </a:xfrm>
          <a:prstGeom prst="rect">
            <a:avLst/>
          </a:prstGeom>
        </p:spPr>
        <p:txBody>
          <a:bodyPr lIns="114086" tIns="57042" rIns="114086" bIns="57042"/>
          <a:lstStyle>
            <a:defPPr>
              <a:defRPr lang="en-US"/>
            </a:defPPr>
            <a:lvl1pPr marL="0" algn="ctr" defTabSz="609432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Myriad Pro"/>
              </a:defRPr>
            </a:lvl1pPr>
            <a:lvl2pPr marL="609432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65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297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30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62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594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27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459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BED127-F486-CC48-B7AF-3A48530C0F5D}" type="slidenum">
              <a:rPr lang="en-US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137626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182805"/>
              </p:ext>
            </p:extLst>
          </p:nvPr>
        </p:nvGraphicFramePr>
        <p:xfrm>
          <a:off x="1311" y="1801"/>
          <a:ext cx="1309" cy="17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1" y="1801"/>
                        <a:ext cx="1309" cy="179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311257"/>
            <a:ext cx="9052560" cy="1295400"/>
          </a:xfrm>
          <a:prstGeom prst="rect">
            <a:avLst/>
          </a:prstGeom>
        </p:spPr>
        <p:txBody>
          <a:bodyPr vert="horz" lIns="0" tIns="42789" rIns="0" bIns="42789" rtlCol="0" anchor="t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236" y="1775305"/>
            <a:ext cx="9163604" cy="317246"/>
          </a:xfrm>
          <a:prstGeom prst="rect">
            <a:avLst/>
          </a:prstGeom>
        </p:spPr>
        <p:txBody>
          <a:bodyPr wrap="square" lIns="85579" tIns="42789" rIns="85579" bIns="42789">
            <a:spAutoFit/>
          </a:bodyPr>
          <a:lstStyle>
            <a:lvl1pPr>
              <a:defRPr sz="1500" b="0">
                <a:solidFill>
                  <a:srgbClr val="FFFFFF"/>
                </a:solidFill>
              </a:defRPr>
            </a:lvl1pPr>
            <a:lvl2pPr>
              <a:defRPr sz="1900"/>
            </a:lvl2pPr>
            <a:lvl3pPr>
              <a:defRPr sz="1900"/>
            </a:lvl3pPr>
            <a:lvl4pPr>
              <a:defRPr sz="1900"/>
            </a:lvl4pPr>
            <a:lvl5pPr>
              <a:defRPr sz="1900"/>
            </a:lvl5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5" name="Slide Number Placeholder 5"/>
          <p:cNvSpPr txBox="1">
            <a:spLocks/>
          </p:cNvSpPr>
          <p:nvPr userDrawn="1"/>
        </p:nvSpPr>
        <p:spPr>
          <a:xfrm>
            <a:off x="4742879" y="7359712"/>
            <a:ext cx="573951" cy="413809"/>
          </a:xfrm>
          <a:prstGeom prst="rect">
            <a:avLst/>
          </a:prstGeom>
        </p:spPr>
        <p:txBody>
          <a:bodyPr lIns="114086" tIns="57042" rIns="114086" bIns="57042"/>
          <a:lstStyle>
            <a:defPPr>
              <a:defRPr lang="en-US"/>
            </a:defPPr>
            <a:lvl1pPr marL="0" algn="ctr" defTabSz="609432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Myriad Pro"/>
              </a:defRPr>
            </a:lvl1pPr>
            <a:lvl2pPr marL="609432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865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297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730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162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594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027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459" algn="l" defTabSz="609432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8BED127-F486-CC48-B7AF-3A48530C0F5D}" type="slidenum">
              <a:rPr lang="en-US" smtClean="0">
                <a:solidFill>
                  <a:schemeClr val="accent5">
                    <a:lumMod val="20000"/>
                    <a:lumOff val="80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98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emf"/><Relationship Id="rId4" Type="http://schemas.openxmlformats.org/officeDocument/2006/relationships/image" Target="../media/image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502920" y="311257"/>
            <a:ext cx="905256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4117" tIns="57059" rIns="114117" bIns="57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02920" y="1813562"/>
            <a:ext cx="9052560" cy="5129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4117" tIns="57059" rIns="114117" bIns="570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02920" y="7203864"/>
            <a:ext cx="23469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7/29/2014 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36620" y="7203864"/>
            <a:ext cx="31851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8520" y="7203864"/>
            <a:ext cx="23469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A1D820D9-C19D-1149-A2A7-C7ED499BA7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2055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67" y="0"/>
            <a:ext cx="10049467" cy="777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 userDrawn="1"/>
        </p:nvSpPr>
        <p:spPr>
          <a:xfrm>
            <a:off x="0" y="0"/>
            <a:ext cx="10058400" cy="63042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5613400"/>
            <a:ext cx="10058400" cy="57573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pic>
        <p:nvPicPr>
          <p:cNvPr id="12" name="Picture 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3513" y="6758279"/>
            <a:ext cx="1783887" cy="517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hf hdr="0" ftr="0"/>
  <p:txStyles>
    <p:titleStyle>
      <a:lvl1pPr algn="ctr" rtl="0" fontAlgn="base">
        <a:spcBef>
          <a:spcPct val="0"/>
        </a:spcBef>
        <a:spcAft>
          <a:spcPct val="0"/>
        </a:spcAft>
        <a:defRPr sz="55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570586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141171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711757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282342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27939" indent="-427939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40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27202" indent="-356616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35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26464" indent="-285293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997050" indent="-285293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567635" indent="-28529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138221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806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79392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49978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0586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71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1757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82342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52928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23514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94099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64685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61" y="1"/>
            <a:ext cx="10035509" cy="7761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1508760" y="0"/>
            <a:ext cx="8549640" cy="7772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1760220" y="6995160"/>
            <a:ext cx="8298180" cy="46058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8520" y="6995160"/>
            <a:ext cx="2346960" cy="345440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bg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0FF441F-8855-9B49-A94B-DB9C510569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922020" y="4461933"/>
            <a:ext cx="2346960" cy="20726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7794" y="6973658"/>
            <a:ext cx="1440112" cy="417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ftr="0"/>
  <p:txStyles>
    <p:titleStyle>
      <a:lvl1pPr algn="ctr" rtl="0" fontAlgn="base">
        <a:spcBef>
          <a:spcPct val="0"/>
        </a:spcBef>
        <a:spcAft>
          <a:spcPct val="0"/>
        </a:spcAft>
        <a:defRPr sz="55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570586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141171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711757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282342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27939" indent="-427939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40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27202" indent="-356616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35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26464" indent="-285293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997050" indent="-285293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567635" indent="-28529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138221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806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79392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49978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0586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71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1757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82342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52928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23514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94099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64685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502920" y="311257"/>
            <a:ext cx="905256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4117" tIns="57059" rIns="114117" bIns="5705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02920" y="1813562"/>
            <a:ext cx="9052560" cy="5129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14117" tIns="57059" rIns="114117" bIns="570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02920" y="7203864"/>
            <a:ext cx="23469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7/29/2014 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36620" y="7203864"/>
            <a:ext cx="31851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5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8520" y="7203864"/>
            <a:ext cx="2346960" cy="413809"/>
          </a:xfrm>
          <a:prstGeom prst="rect">
            <a:avLst/>
          </a:prstGeom>
        </p:spPr>
        <p:txBody>
          <a:bodyPr vert="horz" lIns="114117" tIns="57059" rIns="114117" bIns="57059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5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C923F63-6B01-CD41-BA98-3D2CEF367A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103" name="Picture 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67" y="0"/>
            <a:ext cx="10049467" cy="777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508760" y="0"/>
            <a:ext cx="8549640" cy="7772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 userDrawn="1"/>
        </p:nvSpPr>
        <p:spPr>
          <a:xfrm>
            <a:off x="1760220" y="6995160"/>
            <a:ext cx="8298180" cy="46058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4117" tIns="57059" rIns="114117" bIns="57059"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7794" y="6973658"/>
            <a:ext cx="1440112" cy="417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724" r:id="rId4"/>
  </p:sldLayoutIdLst>
  <p:hf hdr="0" ftr="0"/>
  <p:txStyles>
    <p:titleStyle>
      <a:lvl1pPr algn="ctr" rtl="0" fontAlgn="base">
        <a:spcBef>
          <a:spcPct val="0"/>
        </a:spcBef>
        <a:spcAft>
          <a:spcPct val="0"/>
        </a:spcAft>
        <a:defRPr sz="55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570586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141171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711757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282342" algn="ctr" rtl="0" fontAlgn="base">
        <a:spcBef>
          <a:spcPct val="0"/>
        </a:spcBef>
        <a:spcAft>
          <a:spcPct val="0"/>
        </a:spcAft>
        <a:defRPr sz="55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427939" indent="-427939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40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927202" indent="-356616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35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426464" indent="-285293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0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997050" indent="-285293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567635" indent="-285293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5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138221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806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79392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49978" indent="-285293" algn="l" defTabSz="1141171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0586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71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1757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82342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52928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23514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94099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64685" algn="l" defTabSz="1141171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5"/>
          <p:cNvSpPr txBox="1">
            <a:spLocks noChangeArrowheads="1"/>
          </p:cNvSpPr>
          <p:nvPr/>
        </p:nvSpPr>
        <p:spPr bwMode="auto">
          <a:xfrm>
            <a:off x="206058" y="7397390"/>
            <a:ext cx="1564674" cy="236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27071" tIns="63537" rIns="127071" bIns="63537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© 2018 MOLINA</a:t>
            </a:r>
            <a:r>
              <a:rPr lang="en-US" sz="700" baseline="0" dirty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 HEALTHCARE, INC.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0059710" cy="7772400"/>
          </a:xfrm>
          <a:prstGeom prst="rect">
            <a:avLst/>
          </a:prstGeom>
        </p:spPr>
      </p:pic>
      <p:sp>
        <p:nvSpPr>
          <p:cNvPr id="15" name="Text Box 15"/>
          <p:cNvSpPr txBox="1">
            <a:spLocks noChangeArrowheads="1"/>
          </p:cNvSpPr>
          <p:nvPr userDrawn="1"/>
        </p:nvSpPr>
        <p:spPr bwMode="auto">
          <a:xfrm>
            <a:off x="207078" y="7155363"/>
            <a:ext cx="1564674" cy="236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27071" tIns="63537" rIns="127071" bIns="63537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chemeClr val="accent5">
                    <a:lumMod val="40000"/>
                    <a:lumOff val="60000"/>
                  </a:schemeClr>
                </a:solidFill>
                <a:cs typeface="Arial" pitchFamily="34" charset="0"/>
              </a:rPr>
              <a:t>© 2018 MOLINA</a:t>
            </a:r>
            <a:r>
              <a:rPr lang="en-US" sz="700" baseline="0" dirty="0">
                <a:solidFill>
                  <a:schemeClr val="accent5">
                    <a:lumMod val="40000"/>
                    <a:lumOff val="60000"/>
                  </a:schemeClr>
                </a:solidFill>
                <a:cs typeface="Arial" pitchFamily="34" charset="0"/>
              </a:rPr>
              <a:t> HEALTHCARE, INC.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42225" y="7086600"/>
            <a:ext cx="573951" cy="686921"/>
          </a:xfrm>
          <a:prstGeom prst="rect">
            <a:avLst/>
          </a:prstGeom>
        </p:spPr>
        <p:txBody>
          <a:bodyPr lIns="114097" tIns="57049" rIns="114097" bIns="57049"/>
          <a:lstStyle>
            <a:lvl1pPr algn="ctr">
              <a:defRPr sz="1100">
                <a:solidFill>
                  <a:schemeClr val="accent5">
                    <a:lumMod val="20000"/>
                    <a:lumOff val="80000"/>
                  </a:schemeClr>
                </a:solidFill>
                <a:latin typeface="+mj-lt"/>
                <a:cs typeface="Myriad Pro"/>
              </a:defRPr>
            </a:lvl1pPr>
          </a:lstStyle>
          <a:p>
            <a:fld id="{B8BED127-F486-CC48-B7AF-3A48530C0F5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00" y="6934200"/>
            <a:ext cx="1545728" cy="450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114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3" r:id="rId2"/>
  </p:sldLayoutIdLst>
  <p:transition spd="slow">
    <p:fade/>
  </p:transition>
  <p:hf hdr="0" ftr="0" dt="0"/>
  <p:txStyles>
    <p:titleStyle>
      <a:lvl1pPr algn="ctr" defTabSz="570486" rtl="0" eaLnBrk="1" latinLnBrk="0" hangingPunct="1">
        <a:spcBef>
          <a:spcPct val="0"/>
        </a:spcBef>
        <a:buNone/>
        <a:defRPr sz="5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7864" indent="-427864" algn="l" defTabSz="570486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927039" indent="-356554" algn="l" defTabSz="570486" rtl="0" eaLnBrk="1" latinLnBrk="0" hangingPunct="1">
        <a:spcBef>
          <a:spcPct val="20000"/>
        </a:spcBef>
        <a:buFont typeface="Arial"/>
        <a:buChar char="–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26214" indent="-285243" algn="l" defTabSz="570486" rtl="0" eaLnBrk="1" latinLnBrk="0" hangingPunct="1">
        <a:spcBef>
          <a:spcPct val="20000"/>
        </a:spcBef>
        <a:buFont typeface="Arial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996700" indent="-285243" algn="l" defTabSz="570486" rtl="0" eaLnBrk="1" latinLnBrk="0" hangingPunct="1">
        <a:spcBef>
          <a:spcPct val="20000"/>
        </a:spcBef>
        <a:buFont typeface="Arial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7186" indent="-285243" algn="l" defTabSz="570486" rtl="0" eaLnBrk="1" latinLnBrk="0" hangingPunct="1">
        <a:spcBef>
          <a:spcPct val="20000"/>
        </a:spcBef>
        <a:buFont typeface="Arial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37672" indent="-285243" algn="l" defTabSz="57048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08157" indent="-285243" algn="l" defTabSz="57048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78643" indent="-285243" algn="l" defTabSz="57048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49129" indent="-285243" algn="l" defTabSz="570486" rtl="0" eaLnBrk="1" latinLnBrk="0" hangingPunct="1">
        <a:spcBef>
          <a:spcPct val="20000"/>
        </a:spcBef>
        <a:buFont typeface="Arial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0486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972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11457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81943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852429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422915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993400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563886" algn="l" defTabSz="570486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0" name="Slide Number Placeholder 9"/>
          <p:cNvSpPr>
            <a:spLocks noGrp="1"/>
          </p:cNvSpPr>
          <p:nvPr>
            <p:ph type="sldNum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674984" indent="-259609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038437" indent="-207688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453813" indent="-207688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1869187" indent="-207688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284562" indent="-20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699936" indent="-20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115312" indent="-20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530687" indent="-20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E5200BF-87D5-3D47-BA1C-A085C0782C77}" type="slidenum">
              <a:rPr lang="en-US" sz="1155">
                <a:solidFill>
                  <a:schemeClr val="bg1"/>
                </a:solidFill>
                <a:latin typeface="Times New Roman" charset="0"/>
                <a:cs typeface="Times New Roman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155" dirty="0">
              <a:solidFill>
                <a:schemeClr val="bg1"/>
              </a:solidFill>
              <a:latin typeface="Times New Roman" charset="0"/>
              <a:cs typeface="Times New Roman" charset="0"/>
            </a:endParaRPr>
          </a:p>
        </p:txBody>
      </p:sp>
      <p:sp>
        <p:nvSpPr>
          <p:cNvPr id="7" name="Content Placeholder 6"/>
          <p:cNvSpPr txBox="1">
            <a:spLocks/>
          </p:cNvSpPr>
          <p:nvPr/>
        </p:nvSpPr>
        <p:spPr bwMode="auto">
          <a:xfrm>
            <a:off x="329584" y="244729"/>
            <a:ext cx="8271828" cy="822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83070" tIns="41535" rIns="83070" bIns="41535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427939" indent="-427939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1pPr>
            <a:lvl2pPr marL="927202" indent="-356616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2pPr>
            <a:lvl3pPr marL="1426464" indent="-285293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3pPr>
            <a:lvl4pPr marL="1997050" indent="-285293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4pPr>
            <a:lvl5pPr marL="2567635" indent="-285293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200" kern="1200">
                <a:solidFill>
                  <a:schemeClr val="tx2"/>
                </a:solidFill>
                <a:latin typeface="Times New Roman" pitchFamily="18" charset="0"/>
                <a:ea typeface="ＭＳ Ｐゴシック" charset="0"/>
                <a:cs typeface="Times New Roman" pitchFamily="18" charset="0"/>
              </a:defRPr>
            </a:lvl5pPr>
            <a:lvl6pPr marL="3138221" indent="-285293" algn="l" defTabSz="11411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08806" indent="-285293" algn="l" defTabSz="11411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9392" indent="-285293" algn="l" defTabSz="11411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49978" indent="-285293" algn="l" defTabSz="114117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charset="0"/>
              <a:buNone/>
            </a:pPr>
            <a:r>
              <a:rPr lang="en-US" altLang="en-US" sz="2800" b="1" dirty="0">
                <a:latin typeface="Arial"/>
                <a:cs typeface="Arial"/>
              </a:rPr>
              <a:t>Molina of Michigan Medicare and Marketplace </a:t>
            </a:r>
          </a:p>
          <a:p>
            <a:pPr algn="ctr">
              <a:buFont typeface="Arial" charset="0"/>
              <a:buNone/>
            </a:pPr>
            <a:r>
              <a:rPr lang="en-US" altLang="en-US" sz="2800" b="1" dirty="0">
                <a:latin typeface="Arial"/>
                <a:cs typeface="Arial"/>
              </a:rPr>
              <a:t>2021 Expansion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EB33CC95-74C8-47A2-A320-AB0C3AF809ED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155646" y="950064"/>
            <a:ext cx="8122278" cy="328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6563" tIns="33281" rIns="66563" bIns="33281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800" kern="1200">
                <a:solidFill>
                  <a:schemeClr val="tx2"/>
                </a:solidFill>
                <a:latin typeface="Times New Roman" pitchFamily="18" charset="0"/>
                <a:ea typeface="MS PGothic" pitchFamily="34" charset="-128"/>
                <a:cs typeface="Times New Roman" pitchFamily="18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en-US" sz="1600" i="1" dirty="0">
                <a:solidFill>
                  <a:schemeClr val="tx1"/>
                </a:solidFill>
                <a:latin typeface="Arial"/>
                <a:cs typeface="Arial"/>
              </a:rPr>
              <a:t>21 new Medicare counties for 2021 – 2 new Marketplace counties for 2021</a:t>
            </a:r>
            <a:endParaRPr lang="en-US" sz="16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F9706238-8AA0-423B-ACB4-85C602A02D12}"/>
              </a:ext>
            </a:extLst>
          </p:cNvPr>
          <p:cNvSpPr/>
          <p:nvPr/>
        </p:nvSpPr>
        <p:spPr>
          <a:xfrm>
            <a:off x="5515337" y="1354238"/>
            <a:ext cx="1960282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665665">
              <a:spcBef>
                <a:spcPts val="219"/>
              </a:spcBef>
              <a:defRPr/>
            </a:pPr>
            <a:endParaRPr lang="en-US" altLang="en-US" b="1" u="sng" dirty="0">
              <a:solidFill>
                <a:srgbClr val="00A0AF"/>
              </a:solidFill>
              <a:latin typeface="Arial"/>
              <a:ea typeface="MS PGothic" pitchFamily="34" charset="-128"/>
              <a:cs typeface="Arial"/>
            </a:endParaRPr>
          </a:p>
        </p:txBody>
      </p:sp>
      <p:sp>
        <p:nvSpPr>
          <p:cNvPr id="322" name="Text Placeholder 2">
            <a:extLst>
              <a:ext uri="{FF2B5EF4-FFF2-40B4-BE49-F238E27FC236}">
                <a16:creationId xmlns:a16="http://schemas.microsoft.com/office/drawing/2014/main" id="{07277935-67AA-4EA9-AD61-A70E80D620AA}"/>
              </a:ext>
            </a:extLst>
          </p:cNvPr>
          <p:cNvSpPr txBox="1">
            <a:spLocks/>
          </p:cNvSpPr>
          <p:nvPr/>
        </p:nvSpPr>
        <p:spPr>
          <a:xfrm>
            <a:off x="897536" y="5727571"/>
            <a:ext cx="2563169" cy="1269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5665">
              <a:lnSpc>
                <a:spcPct val="100000"/>
              </a:lnSpc>
              <a:defRPr/>
            </a:pPr>
            <a:r>
              <a:rPr lang="en-US" sz="825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</a:t>
            </a: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84A3A135-B152-41B0-917F-10EFF325A14C}"/>
              </a:ext>
            </a:extLst>
          </p:cNvPr>
          <p:cNvSpPr/>
          <p:nvPr/>
        </p:nvSpPr>
        <p:spPr>
          <a:xfrm>
            <a:off x="695674" y="5700866"/>
            <a:ext cx="139782" cy="139522"/>
          </a:xfrm>
          <a:prstGeom prst="rect">
            <a:avLst/>
          </a:prstGeom>
          <a:solidFill>
            <a:srgbClr val="00A0AF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9" name="Group 368">
            <a:extLst>
              <a:ext uri="{FF2B5EF4-FFF2-40B4-BE49-F238E27FC236}">
                <a16:creationId xmlns:a16="http://schemas.microsoft.com/office/drawing/2014/main" id="{9DCE47D5-E0DA-49EB-AC7F-507D19B1F9B9}"/>
              </a:ext>
            </a:extLst>
          </p:cNvPr>
          <p:cNvGrpSpPr/>
          <p:nvPr/>
        </p:nvGrpSpPr>
        <p:grpSpPr>
          <a:xfrm>
            <a:off x="327951" y="1145384"/>
            <a:ext cx="3776356" cy="4397596"/>
            <a:chOff x="1110478" y="519505"/>
            <a:chExt cx="4678114" cy="5153195"/>
          </a:xfrm>
        </p:grpSpPr>
        <p:grpSp>
          <p:nvGrpSpPr>
            <p:cNvPr id="370" name="Group 85">
              <a:extLst>
                <a:ext uri="{FF2B5EF4-FFF2-40B4-BE49-F238E27FC236}">
                  <a16:creationId xmlns:a16="http://schemas.microsoft.com/office/drawing/2014/main" id="{7DB3B947-A30B-4B2F-AF2D-2F5A72A5B833}"/>
                </a:ext>
              </a:extLst>
            </p:cNvPr>
            <p:cNvGrpSpPr>
              <a:grpSpLocks/>
            </p:cNvGrpSpPr>
            <p:nvPr/>
          </p:nvGrpSpPr>
          <p:grpSpPr bwMode="auto">
            <a:xfrm rot="459085">
              <a:off x="1886671" y="794178"/>
              <a:ext cx="3901921" cy="4878522"/>
              <a:chOff x="2876" y="1610"/>
              <a:chExt cx="1202" cy="1642"/>
            </a:xfrm>
          </p:grpSpPr>
          <p:sp>
            <p:nvSpPr>
              <p:cNvPr id="451" name="Freeform 2">
                <a:extLst>
                  <a:ext uri="{FF2B5EF4-FFF2-40B4-BE49-F238E27FC236}">
                    <a16:creationId xmlns:a16="http://schemas.microsoft.com/office/drawing/2014/main" id="{C30D7275-E5D9-487A-8ABD-D97074385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0" y="3044"/>
                <a:ext cx="168" cy="208"/>
              </a:xfrm>
              <a:custGeom>
                <a:avLst/>
                <a:gdLst>
                  <a:gd name="T0" fmla="*/ 0 w 168"/>
                  <a:gd name="T1" fmla="*/ 208 h 208"/>
                  <a:gd name="T2" fmla="*/ 56 w 168"/>
                  <a:gd name="T3" fmla="*/ 146 h 208"/>
                  <a:gd name="T4" fmla="*/ 54 w 168"/>
                  <a:gd name="T5" fmla="*/ 110 h 208"/>
                  <a:gd name="T6" fmla="*/ 104 w 168"/>
                  <a:gd name="T7" fmla="*/ 2 h 208"/>
                  <a:gd name="T8" fmla="*/ 140 w 168"/>
                  <a:gd name="T9" fmla="*/ 0 h 208"/>
                  <a:gd name="T10" fmla="*/ 152 w 168"/>
                  <a:gd name="T11" fmla="*/ 70 h 208"/>
                  <a:gd name="T12" fmla="*/ 168 w 168"/>
                  <a:gd name="T13" fmla="*/ 186 h 208"/>
                  <a:gd name="T14" fmla="*/ 88 w 168"/>
                  <a:gd name="T15" fmla="*/ 200 h 208"/>
                  <a:gd name="T16" fmla="*/ 0 w 168"/>
                  <a:gd name="T17" fmla="*/ 208 h 20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8" h="208">
                    <a:moveTo>
                      <a:pt x="0" y="208"/>
                    </a:moveTo>
                    <a:lnTo>
                      <a:pt x="56" y="146"/>
                    </a:lnTo>
                    <a:lnTo>
                      <a:pt x="54" y="110"/>
                    </a:lnTo>
                    <a:lnTo>
                      <a:pt x="104" y="2"/>
                    </a:lnTo>
                    <a:lnTo>
                      <a:pt x="140" y="0"/>
                    </a:lnTo>
                    <a:lnTo>
                      <a:pt x="152" y="70"/>
                    </a:lnTo>
                    <a:lnTo>
                      <a:pt x="168" y="186"/>
                    </a:lnTo>
                    <a:lnTo>
                      <a:pt x="88" y="200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2" name="Freeform 3">
                <a:extLst>
                  <a:ext uri="{FF2B5EF4-FFF2-40B4-BE49-F238E27FC236}">
                    <a16:creationId xmlns:a16="http://schemas.microsoft.com/office/drawing/2014/main" id="{8D168A63-0473-4F9C-8194-007D9EDA7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2" y="3088"/>
                <a:ext cx="156" cy="142"/>
              </a:xfrm>
              <a:custGeom>
                <a:avLst/>
                <a:gdLst>
                  <a:gd name="T0" fmla="*/ 0 w 156"/>
                  <a:gd name="T1" fmla="*/ 26 h 142"/>
                  <a:gd name="T2" fmla="*/ 132 w 156"/>
                  <a:gd name="T3" fmla="*/ 0 h 142"/>
                  <a:gd name="T4" fmla="*/ 156 w 156"/>
                  <a:gd name="T5" fmla="*/ 122 h 142"/>
                  <a:gd name="T6" fmla="*/ 16 w 156"/>
                  <a:gd name="T7" fmla="*/ 142 h 142"/>
                  <a:gd name="T8" fmla="*/ 0 w 156"/>
                  <a:gd name="T9" fmla="*/ 26 h 14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6" h="142">
                    <a:moveTo>
                      <a:pt x="0" y="26"/>
                    </a:moveTo>
                    <a:lnTo>
                      <a:pt x="132" y="0"/>
                    </a:lnTo>
                    <a:lnTo>
                      <a:pt x="156" y="122"/>
                    </a:lnTo>
                    <a:lnTo>
                      <a:pt x="16" y="142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3" name="Freeform 4">
                <a:extLst>
                  <a:ext uri="{FF2B5EF4-FFF2-40B4-BE49-F238E27FC236}">
                    <a16:creationId xmlns:a16="http://schemas.microsoft.com/office/drawing/2014/main" id="{8C34BE34-4DEF-49A9-865E-4114D6178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" y="3068"/>
                <a:ext cx="152" cy="142"/>
              </a:xfrm>
              <a:custGeom>
                <a:avLst/>
                <a:gdLst>
                  <a:gd name="T0" fmla="*/ 0 w 152"/>
                  <a:gd name="T1" fmla="*/ 20 h 142"/>
                  <a:gd name="T2" fmla="*/ 132 w 152"/>
                  <a:gd name="T3" fmla="*/ 0 h 142"/>
                  <a:gd name="T4" fmla="*/ 152 w 152"/>
                  <a:gd name="T5" fmla="*/ 112 h 142"/>
                  <a:gd name="T6" fmla="*/ 50 w 152"/>
                  <a:gd name="T7" fmla="*/ 138 h 142"/>
                  <a:gd name="T8" fmla="*/ 24 w 152"/>
                  <a:gd name="T9" fmla="*/ 142 h 142"/>
                  <a:gd name="T10" fmla="*/ 0 w 152"/>
                  <a:gd name="T11" fmla="*/ 20 h 1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2" h="142">
                    <a:moveTo>
                      <a:pt x="0" y="20"/>
                    </a:moveTo>
                    <a:lnTo>
                      <a:pt x="132" y="0"/>
                    </a:lnTo>
                    <a:lnTo>
                      <a:pt x="152" y="112"/>
                    </a:lnTo>
                    <a:lnTo>
                      <a:pt x="50" y="138"/>
                    </a:lnTo>
                    <a:lnTo>
                      <a:pt x="24" y="142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4" name="Freeform 5">
                <a:extLst>
                  <a:ext uri="{FF2B5EF4-FFF2-40B4-BE49-F238E27FC236}">
                    <a16:creationId xmlns:a16="http://schemas.microsoft.com/office/drawing/2014/main" id="{2ABE1DAB-9E90-4DCF-BE4D-5C66ED2E3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4" y="2960"/>
                <a:ext cx="180" cy="154"/>
              </a:xfrm>
              <a:custGeom>
                <a:avLst/>
                <a:gdLst>
                  <a:gd name="T0" fmla="*/ 0 w 180"/>
                  <a:gd name="T1" fmla="*/ 86 h 154"/>
                  <a:gd name="T2" fmla="*/ 20 w 180"/>
                  <a:gd name="T3" fmla="*/ 18 h 154"/>
                  <a:gd name="T4" fmla="*/ 160 w 180"/>
                  <a:gd name="T5" fmla="*/ 0 h 154"/>
                  <a:gd name="T6" fmla="*/ 180 w 180"/>
                  <a:gd name="T7" fmla="*/ 128 h 154"/>
                  <a:gd name="T8" fmla="*/ 48 w 180"/>
                  <a:gd name="T9" fmla="*/ 154 h 154"/>
                  <a:gd name="T10" fmla="*/ 36 w 180"/>
                  <a:gd name="T11" fmla="*/ 84 h 154"/>
                  <a:gd name="T12" fmla="*/ 0 w 180"/>
                  <a:gd name="T13" fmla="*/ 86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0" h="154">
                    <a:moveTo>
                      <a:pt x="0" y="86"/>
                    </a:moveTo>
                    <a:lnTo>
                      <a:pt x="20" y="18"/>
                    </a:lnTo>
                    <a:lnTo>
                      <a:pt x="160" y="0"/>
                    </a:lnTo>
                    <a:lnTo>
                      <a:pt x="180" y="128"/>
                    </a:lnTo>
                    <a:lnTo>
                      <a:pt x="48" y="154"/>
                    </a:lnTo>
                    <a:lnTo>
                      <a:pt x="36" y="84"/>
                    </a:lnTo>
                    <a:lnTo>
                      <a:pt x="0" y="86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5" name="Freeform 6">
                <a:extLst>
                  <a:ext uri="{FF2B5EF4-FFF2-40B4-BE49-F238E27FC236}">
                    <a16:creationId xmlns:a16="http://schemas.microsoft.com/office/drawing/2014/main" id="{5CAD791B-C362-4CE6-BC0F-05DA9A680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4" y="2940"/>
                <a:ext cx="152" cy="148"/>
              </a:xfrm>
              <a:custGeom>
                <a:avLst/>
                <a:gdLst>
                  <a:gd name="T0" fmla="*/ 0 w 152"/>
                  <a:gd name="T1" fmla="*/ 20 h 148"/>
                  <a:gd name="T2" fmla="*/ 62 w 152"/>
                  <a:gd name="T3" fmla="*/ 8 h 148"/>
                  <a:gd name="T4" fmla="*/ 134 w 152"/>
                  <a:gd name="T5" fmla="*/ 0 h 148"/>
                  <a:gd name="T6" fmla="*/ 152 w 152"/>
                  <a:gd name="T7" fmla="*/ 128 h 148"/>
                  <a:gd name="T8" fmla="*/ 20 w 152"/>
                  <a:gd name="T9" fmla="*/ 148 h 148"/>
                  <a:gd name="T10" fmla="*/ 0 w 152"/>
                  <a:gd name="T11" fmla="*/ 20 h 1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2" h="148">
                    <a:moveTo>
                      <a:pt x="0" y="20"/>
                    </a:moveTo>
                    <a:lnTo>
                      <a:pt x="62" y="8"/>
                    </a:lnTo>
                    <a:lnTo>
                      <a:pt x="134" y="0"/>
                    </a:lnTo>
                    <a:lnTo>
                      <a:pt x="152" y="128"/>
                    </a:lnTo>
                    <a:lnTo>
                      <a:pt x="20" y="148"/>
                    </a:lnTo>
                    <a:lnTo>
                      <a:pt x="0" y="20"/>
                    </a:lnTo>
                    <a:close/>
                  </a:path>
                </a:pathLst>
              </a:custGeom>
              <a:no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6" name="Freeform 7">
                <a:extLst>
                  <a:ext uri="{FF2B5EF4-FFF2-40B4-BE49-F238E27FC236}">
                    <a16:creationId xmlns:a16="http://schemas.microsoft.com/office/drawing/2014/main" id="{34FD37A7-0167-4C24-A7EB-B5270F0246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8" y="2908"/>
                <a:ext cx="186" cy="160"/>
              </a:xfrm>
              <a:custGeom>
                <a:avLst/>
                <a:gdLst>
                  <a:gd name="T0" fmla="*/ 0 w 186"/>
                  <a:gd name="T1" fmla="*/ 32 h 160"/>
                  <a:gd name="T2" fmla="*/ 66 w 186"/>
                  <a:gd name="T3" fmla="*/ 20 h 160"/>
                  <a:gd name="T4" fmla="*/ 164 w 186"/>
                  <a:gd name="T5" fmla="*/ 0 h 160"/>
                  <a:gd name="T6" fmla="*/ 186 w 186"/>
                  <a:gd name="T7" fmla="*/ 132 h 160"/>
                  <a:gd name="T8" fmla="*/ 154 w 186"/>
                  <a:gd name="T9" fmla="*/ 146 h 160"/>
                  <a:gd name="T10" fmla="*/ 18 w 186"/>
                  <a:gd name="T11" fmla="*/ 160 h 160"/>
                  <a:gd name="T12" fmla="*/ 0 w 186"/>
                  <a:gd name="T13" fmla="*/ 32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6" h="160">
                    <a:moveTo>
                      <a:pt x="0" y="32"/>
                    </a:moveTo>
                    <a:lnTo>
                      <a:pt x="66" y="20"/>
                    </a:lnTo>
                    <a:lnTo>
                      <a:pt x="164" y="0"/>
                    </a:lnTo>
                    <a:lnTo>
                      <a:pt x="186" y="132"/>
                    </a:lnTo>
                    <a:lnTo>
                      <a:pt x="154" y="146"/>
                    </a:lnTo>
                    <a:lnTo>
                      <a:pt x="18" y="160"/>
                    </a:lnTo>
                    <a:lnTo>
                      <a:pt x="0" y="32"/>
                    </a:lnTo>
                    <a:close/>
                  </a:path>
                </a:pathLst>
              </a:custGeom>
              <a:no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7" name="Freeform 8">
                <a:extLst>
                  <a:ext uri="{FF2B5EF4-FFF2-40B4-BE49-F238E27FC236}">
                    <a16:creationId xmlns:a16="http://schemas.microsoft.com/office/drawing/2014/main" id="{625F595E-2ABB-4591-8185-3817388231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6" y="3054"/>
                <a:ext cx="154" cy="128"/>
              </a:xfrm>
              <a:custGeom>
                <a:avLst/>
                <a:gdLst>
                  <a:gd name="T0" fmla="*/ 0 w 154"/>
                  <a:gd name="T1" fmla="*/ 14 h 128"/>
                  <a:gd name="T2" fmla="*/ 136 w 154"/>
                  <a:gd name="T3" fmla="*/ 0 h 128"/>
                  <a:gd name="T4" fmla="*/ 154 w 154"/>
                  <a:gd name="T5" fmla="*/ 106 h 128"/>
                  <a:gd name="T6" fmla="*/ 44 w 154"/>
                  <a:gd name="T7" fmla="*/ 128 h 128"/>
                  <a:gd name="T8" fmla="*/ 20 w 154"/>
                  <a:gd name="T9" fmla="*/ 126 h 128"/>
                  <a:gd name="T10" fmla="*/ 0 w 154"/>
                  <a:gd name="T11" fmla="*/ 14 h 12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28">
                    <a:moveTo>
                      <a:pt x="0" y="14"/>
                    </a:moveTo>
                    <a:lnTo>
                      <a:pt x="136" y="0"/>
                    </a:lnTo>
                    <a:lnTo>
                      <a:pt x="154" y="106"/>
                    </a:lnTo>
                    <a:lnTo>
                      <a:pt x="44" y="128"/>
                    </a:lnTo>
                    <a:lnTo>
                      <a:pt x="20" y="126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8" name="Freeform 9">
                <a:extLst>
                  <a:ext uri="{FF2B5EF4-FFF2-40B4-BE49-F238E27FC236}">
                    <a16:creationId xmlns:a16="http://schemas.microsoft.com/office/drawing/2014/main" id="{0F056F54-5C8C-4F5A-B1B4-6E91982978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2" y="3032"/>
                <a:ext cx="156" cy="156"/>
              </a:xfrm>
              <a:custGeom>
                <a:avLst/>
                <a:gdLst>
                  <a:gd name="T0" fmla="*/ 0 w 156"/>
                  <a:gd name="T1" fmla="*/ 22 h 156"/>
                  <a:gd name="T2" fmla="*/ 32 w 156"/>
                  <a:gd name="T3" fmla="*/ 8 h 156"/>
                  <a:gd name="T4" fmla="*/ 132 w 156"/>
                  <a:gd name="T5" fmla="*/ 0 h 156"/>
                  <a:gd name="T6" fmla="*/ 156 w 156"/>
                  <a:gd name="T7" fmla="*/ 136 h 156"/>
                  <a:gd name="T8" fmla="*/ 148 w 156"/>
                  <a:gd name="T9" fmla="*/ 136 h 156"/>
                  <a:gd name="T10" fmla="*/ 32 w 156"/>
                  <a:gd name="T11" fmla="*/ 156 h 156"/>
                  <a:gd name="T12" fmla="*/ 26 w 156"/>
                  <a:gd name="T13" fmla="*/ 128 h 156"/>
                  <a:gd name="T14" fmla="*/ 18 w 156"/>
                  <a:gd name="T15" fmla="*/ 128 h 156"/>
                  <a:gd name="T16" fmla="*/ 0 w 156"/>
                  <a:gd name="T17" fmla="*/ 22 h 15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6" h="156">
                    <a:moveTo>
                      <a:pt x="0" y="22"/>
                    </a:moveTo>
                    <a:lnTo>
                      <a:pt x="32" y="8"/>
                    </a:lnTo>
                    <a:lnTo>
                      <a:pt x="132" y="0"/>
                    </a:lnTo>
                    <a:lnTo>
                      <a:pt x="156" y="136"/>
                    </a:lnTo>
                    <a:lnTo>
                      <a:pt x="148" y="136"/>
                    </a:lnTo>
                    <a:lnTo>
                      <a:pt x="32" y="156"/>
                    </a:lnTo>
                    <a:lnTo>
                      <a:pt x="26" y="128"/>
                    </a:lnTo>
                    <a:lnTo>
                      <a:pt x="18" y="128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9" name="Freeform 10">
                <a:extLst>
                  <a:ext uri="{FF2B5EF4-FFF2-40B4-BE49-F238E27FC236}">
                    <a16:creationId xmlns:a16="http://schemas.microsoft.com/office/drawing/2014/main" id="{150A0ABC-EE93-4C90-9F2D-3D7DC200EE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2" y="2880"/>
                <a:ext cx="190" cy="160"/>
              </a:xfrm>
              <a:custGeom>
                <a:avLst/>
                <a:gdLst>
                  <a:gd name="T0" fmla="*/ 0 w 190"/>
                  <a:gd name="T1" fmla="*/ 28 h 160"/>
                  <a:gd name="T2" fmla="*/ 34 w 190"/>
                  <a:gd name="T3" fmla="*/ 20 h 160"/>
                  <a:gd name="T4" fmla="*/ 170 w 190"/>
                  <a:gd name="T5" fmla="*/ 0 h 160"/>
                  <a:gd name="T6" fmla="*/ 190 w 190"/>
                  <a:gd name="T7" fmla="*/ 134 h 160"/>
                  <a:gd name="T8" fmla="*/ 122 w 190"/>
                  <a:gd name="T9" fmla="*/ 152 h 160"/>
                  <a:gd name="T10" fmla="*/ 22 w 190"/>
                  <a:gd name="T11" fmla="*/ 160 h 160"/>
                  <a:gd name="T12" fmla="*/ 0 w 190"/>
                  <a:gd name="T13" fmla="*/ 28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0" h="160">
                    <a:moveTo>
                      <a:pt x="0" y="28"/>
                    </a:moveTo>
                    <a:lnTo>
                      <a:pt x="34" y="20"/>
                    </a:lnTo>
                    <a:lnTo>
                      <a:pt x="170" y="0"/>
                    </a:lnTo>
                    <a:lnTo>
                      <a:pt x="190" y="134"/>
                    </a:lnTo>
                    <a:lnTo>
                      <a:pt x="122" y="152"/>
                    </a:lnTo>
                    <a:lnTo>
                      <a:pt x="22" y="160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0" name="Freeform 11">
                <a:extLst>
                  <a:ext uri="{FF2B5EF4-FFF2-40B4-BE49-F238E27FC236}">
                    <a16:creationId xmlns:a16="http://schemas.microsoft.com/office/drawing/2014/main" id="{E7D77258-5956-4C20-BA93-E6B47E082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4" y="2992"/>
                <a:ext cx="196" cy="176"/>
              </a:xfrm>
              <a:custGeom>
                <a:avLst/>
                <a:gdLst>
                  <a:gd name="T0" fmla="*/ 0 w 196"/>
                  <a:gd name="T1" fmla="*/ 40 h 176"/>
                  <a:gd name="T2" fmla="*/ 68 w 196"/>
                  <a:gd name="T3" fmla="*/ 22 h 176"/>
                  <a:gd name="T4" fmla="*/ 104 w 196"/>
                  <a:gd name="T5" fmla="*/ 16 h 176"/>
                  <a:gd name="T6" fmla="*/ 170 w 196"/>
                  <a:gd name="T7" fmla="*/ 0 h 176"/>
                  <a:gd name="T8" fmla="*/ 196 w 196"/>
                  <a:gd name="T9" fmla="*/ 138 h 176"/>
                  <a:gd name="T10" fmla="*/ 164 w 196"/>
                  <a:gd name="T11" fmla="*/ 146 h 176"/>
                  <a:gd name="T12" fmla="*/ 24 w 196"/>
                  <a:gd name="T13" fmla="*/ 176 h 176"/>
                  <a:gd name="T14" fmla="*/ 0 w 196"/>
                  <a:gd name="T15" fmla="*/ 40 h 1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6" h="176">
                    <a:moveTo>
                      <a:pt x="0" y="40"/>
                    </a:moveTo>
                    <a:lnTo>
                      <a:pt x="68" y="22"/>
                    </a:lnTo>
                    <a:lnTo>
                      <a:pt x="104" y="16"/>
                    </a:lnTo>
                    <a:lnTo>
                      <a:pt x="170" y="0"/>
                    </a:lnTo>
                    <a:lnTo>
                      <a:pt x="196" y="138"/>
                    </a:lnTo>
                    <a:lnTo>
                      <a:pt x="164" y="146"/>
                    </a:lnTo>
                    <a:lnTo>
                      <a:pt x="24" y="176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1" name="Freeform 12">
                <a:extLst>
                  <a:ext uri="{FF2B5EF4-FFF2-40B4-BE49-F238E27FC236}">
                    <a16:creationId xmlns:a16="http://schemas.microsoft.com/office/drawing/2014/main" id="{6A0A9794-F670-4584-8066-06E652DDE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2968"/>
                <a:ext cx="176" cy="162"/>
              </a:xfrm>
              <a:custGeom>
                <a:avLst/>
                <a:gdLst>
                  <a:gd name="T0" fmla="*/ 0 w 176"/>
                  <a:gd name="T1" fmla="*/ 24 h 162"/>
                  <a:gd name="T2" fmla="*/ 70 w 176"/>
                  <a:gd name="T3" fmla="*/ 12 h 162"/>
                  <a:gd name="T4" fmla="*/ 138 w 176"/>
                  <a:gd name="T5" fmla="*/ 0 h 162"/>
                  <a:gd name="T6" fmla="*/ 176 w 176"/>
                  <a:gd name="T7" fmla="*/ 16 h 162"/>
                  <a:gd name="T8" fmla="*/ 158 w 176"/>
                  <a:gd name="T9" fmla="*/ 48 h 162"/>
                  <a:gd name="T10" fmla="*/ 142 w 176"/>
                  <a:gd name="T11" fmla="*/ 56 h 162"/>
                  <a:gd name="T12" fmla="*/ 116 w 176"/>
                  <a:gd name="T13" fmla="*/ 102 h 162"/>
                  <a:gd name="T14" fmla="*/ 114 w 176"/>
                  <a:gd name="T15" fmla="*/ 140 h 162"/>
                  <a:gd name="T16" fmla="*/ 26 w 176"/>
                  <a:gd name="T17" fmla="*/ 162 h 162"/>
                  <a:gd name="T18" fmla="*/ 0 w 176"/>
                  <a:gd name="T19" fmla="*/ 24 h 16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6" h="162">
                    <a:moveTo>
                      <a:pt x="0" y="24"/>
                    </a:moveTo>
                    <a:lnTo>
                      <a:pt x="70" y="12"/>
                    </a:lnTo>
                    <a:lnTo>
                      <a:pt x="138" y="0"/>
                    </a:lnTo>
                    <a:lnTo>
                      <a:pt x="176" y="16"/>
                    </a:lnTo>
                    <a:lnTo>
                      <a:pt x="158" y="48"/>
                    </a:lnTo>
                    <a:lnTo>
                      <a:pt x="142" y="56"/>
                    </a:lnTo>
                    <a:lnTo>
                      <a:pt x="116" y="102"/>
                    </a:lnTo>
                    <a:lnTo>
                      <a:pt x="114" y="140"/>
                    </a:lnTo>
                    <a:lnTo>
                      <a:pt x="26" y="162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2" name="Freeform 13">
                <a:extLst>
                  <a:ext uri="{FF2B5EF4-FFF2-40B4-BE49-F238E27FC236}">
                    <a16:creationId xmlns:a16="http://schemas.microsoft.com/office/drawing/2014/main" id="{0309F10C-E2AD-4330-9C94-EF855379A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2" y="2854"/>
                <a:ext cx="192" cy="160"/>
              </a:xfrm>
              <a:custGeom>
                <a:avLst/>
                <a:gdLst>
                  <a:gd name="T0" fmla="*/ 0 w 192"/>
                  <a:gd name="T1" fmla="*/ 26 h 160"/>
                  <a:gd name="T2" fmla="*/ 162 w 192"/>
                  <a:gd name="T3" fmla="*/ 0 h 160"/>
                  <a:gd name="T4" fmla="*/ 192 w 192"/>
                  <a:gd name="T5" fmla="*/ 126 h 160"/>
                  <a:gd name="T6" fmla="*/ 122 w 192"/>
                  <a:gd name="T7" fmla="*/ 138 h 160"/>
                  <a:gd name="T8" fmla="*/ 64 w 192"/>
                  <a:gd name="T9" fmla="*/ 154 h 160"/>
                  <a:gd name="T10" fmla="*/ 20 w 192"/>
                  <a:gd name="T11" fmla="*/ 160 h 160"/>
                  <a:gd name="T12" fmla="*/ 0 w 192"/>
                  <a:gd name="T13" fmla="*/ 26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2" h="160">
                    <a:moveTo>
                      <a:pt x="0" y="26"/>
                    </a:moveTo>
                    <a:lnTo>
                      <a:pt x="162" y="0"/>
                    </a:lnTo>
                    <a:lnTo>
                      <a:pt x="192" y="126"/>
                    </a:lnTo>
                    <a:lnTo>
                      <a:pt x="122" y="138"/>
                    </a:lnTo>
                    <a:lnTo>
                      <a:pt x="64" y="154"/>
                    </a:lnTo>
                    <a:lnTo>
                      <a:pt x="20" y="160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3" name="Freeform 14">
                <a:extLst>
                  <a:ext uri="{FF2B5EF4-FFF2-40B4-BE49-F238E27FC236}">
                    <a16:creationId xmlns:a16="http://schemas.microsoft.com/office/drawing/2014/main" id="{B8F938C9-7ACF-4D80-A1EA-C0DE7AD294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2804"/>
                <a:ext cx="192" cy="180"/>
              </a:xfrm>
              <a:custGeom>
                <a:avLst/>
                <a:gdLst>
                  <a:gd name="T0" fmla="*/ 0 w 192"/>
                  <a:gd name="T1" fmla="*/ 50 h 180"/>
                  <a:gd name="T2" fmla="*/ 130 w 192"/>
                  <a:gd name="T3" fmla="*/ 18 h 180"/>
                  <a:gd name="T4" fmla="*/ 192 w 192"/>
                  <a:gd name="T5" fmla="*/ 0 h 180"/>
                  <a:gd name="T6" fmla="*/ 192 w 192"/>
                  <a:gd name="T7" fmla="*/ 28 h 180"/>
                  <a:gd name="T8" fmla="*/ 134 w 192"/>
                  <a:gd name="T9" fmla="*/ 76 h 180"/>
                  <a:gd name="T10" fmla="*/ 126 w 192"/>
                  <a:gd name="T11" fmla="*/ 104 h 180"/>
                  <a:gd name="T12" fmla="*/ 130 w 192"/>
                  <a:gd name="T13" fmla="*/ 148 h 180"/>
                  <a:gd name="T14" fmla="*/ 136 w 192"/>
                  <a:gd name="T15" fmla="*/ 180 h 180"/>
                  <a:gd name="T16" fmla="*/ 98 w 192"/>
                  <a:gd name="T17" fmla="*/ 164 h 180"/>
                  <a:gd name="T18" fmla="*/ 30 w 192"/>
                  <a:gd name="T19" fmla="*/ 176 h 180"/>
                  <a:gd name="T20" fmla="*/ 0 w 192"/>
                  <a:gd name="T21" fmla="*/ 50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92" h="180">
                    <a:moveTo>
                      <a:pt x="0" y="50"/>
                    </a:moveTo>
                    <a:lnTo>
                      <a:pt x="130" y="18"/>
                    </a:lnTo>
                    <a:lnTo>
                      <a:pt x="192" y="0"/>
                    </a:lnTo>
                    <a:lnTo>
                      <a:pt x="192" y="28"/>
                    </a:lnTo>
                    <a:lnTo>
                      <a:pt x="134" y="76"/>
                    </a:lnTo>
                    <a:lnTo>
                      <a:pt x="126" y="104"/>
                    </a:lnTo>
                    <a:lnTo>
                      <a:pt x="130" y="148"/>
                    </a:lnTo>
                    <a:lnTo>
                      <a:pt x="136" y="180"/>
                    </a:lnTo>
                    <a:lnTo>
                      <a:pt x="98" y="164"/>
                    </a:lnTo>
                    <a:lnTo>
                      <a:pt x="30" y="176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4" name="Freeform 15">
                <a:extLst>
                  <a:ext uri="{FF2B5EF4-FFF2-40B4-BE49-F238E27FC236}">
                    <a16:creationId xmlns:a16="http://schemas.microsoft.com/office/drawing/2014/main" id="{9B684022-7162-47FF-AA98-5A3BFB2D76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0" y="2634"/>
                <a:ext cx="124" cy="188"/>
              </a:xfrm>
              <a:custGeom>
                <a:avLst/>
                <a:gdLst>
                  <a:gd name="T0" fmla="*/ 0 w 124"/>
                  <a:gd name="T1" fmla="*/ 16 h 188"/>
                  <a:gd name="T2" fmla="*/ 34 w 124"/>
                  <a:gd name="T3" fmla="*/ 10 h 188"/>
                  <a:gd name="T4" fmla="*/ 104 w 124"/>
                  <a:gd name="T5" fmla="*/ 0 h 188"/>
                  <a:gd name="T6" fmla="*/ 124 w 124"/>
                  <a:gd name="T7" fmla="*/ 80 h 188"/>
                  <a:gd name="T8" fmla="*/ 98 w 124"/>
                  <a:gd name="T9" fmla="*/ 102 h 188"/>
                  <a:gd name="T10" fmla="*/ 110 w 124"/>
                  <a:gd name="T11" fmla="*/ 118 h 188"/>
                  <a:gd name="T12" fmla="*/ 90 w 124"/>
                  <a:gd name="T13" fmla="*/ 140 h 188"/>
                  <a:gd name="T14" fmla="*/ 96 w 124"/>
                  <a:gd name="T15" fmla="*/ 170 h 188"/>
                  <a:gd name="T16" fmla="*/ 34 w 124"/>
                  <a:gd name="T17" fmla="*/ 188 h 188"/>
                  <a:gd name="T18" fmla="*/ 0 w 124"/>
                  <a:gd name="T19" fmla="*/ 16 h 18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24" h="188">
                    <a:moveTo>
                      <a:pt x="0" y="16"/>
                    </a:moveTo>
                    <a:lnTo>
                      <a:pt x="34" y="10"/>
                    </a:lnTo>
                    <a:lnTo>
                      <a:pt x="104" y="0"/>
                    </a:lnTo>
                    <a:lnTo>
                      <a:pt x="124" y="80"/>
                    </a:lnTo>
                    <a:lnTo>
                      <a:pt x="98" y="102"/>
                    </a:lnTo>
                    <a:lnTo>
                      <a:pt x="110" y="118"/>
                    </a:lnTo>
                    <a:lnTo>
                      <a:pt x="90" y="140"/>
                    </a:lnTo>
                    <a:lnTo>
                      <a:pt x="96" y="170"/>
                    </a:lnTo>
                    <a:lnTo>
                      <a:pt x="34" y="188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5" name="Freeform 16">
                <a:extLst>
                  <a:ext uri="{FF2B5EF4-FFF2-40B4-BE49-F238E27FC236}">
                    <a16:creationId xmlns:a16="http://schemas.microsoft.com/office/drawing/2014/main" id="{8D30460A-9CA0-4553-B69E-BBD4A8597C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2" y="2512"/>
                <a:ext cx="166" cy="242"/>
              </a:xfrm>
              <a:custGeom>
                <a:avLst/>
                <a:gdLst>
                  <a:gd name="T0" fmla="*/ 0 w 166"/>
                  <a:gd name="T1" fmla="*/ 30 h 242"/>
                  <a:gd name="T2" fmla="*/ 134 w 166"/>
                  <a:gd name="T3" fmla="*/ 0 h 242"/>
                  <a:gd name="T4" fmla="*/ 164 w 166"/>
                  <a:gd name="T5" fmla="*/ 58 h 242"/>
                  <a:gd name="T6" fmla="*/ 154 w 166"/>
                  <a:gd name="T7" fmla="*/ 118 h 242"/>
                  <a:gd name="T8" fmla="*/ 166 w 166"/>
                  <a:gd name="T9" fmla="*/ 192 h 242"/>
                  <a:gd name="T10" fmla="*/ 146 w 166"/>
                  <a:gd name="T11" fmla="*/ 242 h 242"/>
                  <a:gd name="T12" fmla="*/ 130 w 166"/>
                  <a:gd name="T13" fmla="*/ 234 h 242"/>
                  <a:gd name="T14" fmla="*/ 136 w 166"/>
                  <a:gd name="T15" fmla="*/ 216 h 242"/>
                  <a:gd name="T16" fmla="*/ 112 w 166"/>
                  <a:gd name="T17" fmla="*/ 202 h 242"/>
                  <a:gd name="T18" fmla="*/ 92 w 166"/>
                  <a:gd name="T19" fmla="*/ 122 h 242"/>
                  <a:gd name="T20" fmla="*/ 22 w 166"/>
                  <a:gd name="T21" fmla="*/ 132 h 242"/>
                  <a:gd name="T22" fmla="*/ 0 w 166"/>
                  <a:gd name="T23" fmla="*/ 30 h 24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6" h="242">
                    <a:moveTo>
                      <a:pt x="0" y="30"/>
                    </a:moveTo>
                    <a:lnTo>
                      <a:pt x="134" y="0"/>
                    </a:lnTo>
                    <a:lnTo>
                      <a:pt x="164" y="58"/>
                    </a:lnTo>
                    <a:lnTo>
                      <a:pt x="154" y="118"/>
                    </a:lnTo>
                    <a:lnTo>
                      <a:pt x="166" y="192"/>
                    </a:lnTo>
                    <a:lnTo>
                      <a:pt x="146" y="242"/>
                    </a:lnTo>
                    <a:lnTo>
                      <a:pt x="130" y="234"/>
                    </a:lnTo>
                    <a:lnTo>
                      <a:pt x="136" y="216"/>
                    </a:lnTo>
                    <a:lnTo>
                      <a:pt x="112" y="202"/>
                    </a:lnTo>
                    <a:lnTo>
                      <a:pt x="92" y="122"/>
                    </a:lnTo>
                    <a:lnTo>
                      <a:pt x="22" y="132"/>
                    </a:lnTo>
                    <a:lnTo>
                      <a:pt x="0" y="30"/>
                    </a:lnTo>
                    <a:close/>
                  </a:path>
                </a:pathLst>
              </a:custGeom>
              <a:no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6" name="Freeform 17">
                <a:extLst>
                  <a:ext uri="{FF2B5EF4-FFF2-40B4-BE49-F238E27FC236}">
                    <a16:creationId xmlns:a16="http://schemas.microsoft.com/office/drawing/2014/main" id="{C3952F5F-F68A-4201-8105-09F4B31E7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2" y="2650"/>
                <a:ext cx="202" cy="210"/>
              </a:xfrm>
              <a:custGeom>
                <a:avLst/>
                <a:gdLst>
                  <a:gd name="T0" fmla="*/ 0 w 202"/>
                  <a:gd name="T1" fmla="*/ 36 h 210"/>
                  <a:gd name="T2" fmla="*/ 70 w 202"/>
                  <a:gd name="T3" fmla="*/ 22 h 210"/>
                  <a:gd name="T4" fmla="*/ 168 w 202"/>
                  <a:gd name="T5" fmla="*/ 0 h 210"/>
                  <a:gd name="T6" fmla="*/ 202 w 202"/>
                  <a:gd name="T7" fmla="*/ 172 h 210"/>
                  <a:gd name="T8" fmla="*/ 72 w 202"/>
                  <a:gd name="T9" fmla="*/ 204 h 210"/>
                  <a:gd name="T10" fmla="*/ 38 w 202"/>
                  <a:gd name="T11" fmla="*/ 210 h 210"/>
                  <a:gd name="T12" fmla="*/ 10 w 202"/>
                  <a:gd name="T13" fmla="*/ 74 h 210"/>
                  <a:gd name="T14" fmla="*/ 0 w 202"/>
                  <a:gd name="T15" fmla="*/ 36 h 2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02" h="210">
                    <a:moveTo>
                      <a:pt x="0" y="36"/>
                    </a:moveTo>
                    <a:lnTo>
                      <a:pt x="70" y="22"/>
                    </a:lnTo>
                    <a:lnTo>
                      <a:pt x="168" y="0"/>
                    </a:lnTo>
                    <a:lnTo>
                      <a:pt x="202" y="172"/>
                    </a:lnTo>
                    <a:lnTo>
                      <a:pt x="72" y="204"/>
                    </a:lnTo>
                    <a:lnTo>
                      <a:pt x="38" y="210"/>
                    </a:lnTo>
                    <a:lnTo>
                      <a:pt x="10" y="74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7" name="Freeform 18">
                <a:extLst>
                  <a:ext uri="{FF2B5EF4-FFF2-40B4-BE49-F238E27FC236}">
                    <a16:creationId xmlns:a16="http://schemas.microsoft.com/office/drawing/2014/main" id="{32B59199-C083-48D1-AAA1-74552BFF68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2" y="2316"/>
                <a:ext cx="204" cy="226"/>
              </a:xfrm>
              <a:custGeom>
                <a:avLst/>
                <a:gdLst>
                  <a:gd name="T0" fmla="*/ 0 w 204"/>
                  <a:gd name="T1" fmla="*/ 32 h 226"/>
                  <a:gd name="T2" fmla="*/ 144 w 204"/>
                  <a:gd name="T3" fmla="*/ 0 h 226"/>
                  <a:gd name="T4" fmla="*/ 154 w 204"/>
                  <a:gd name="T5" fmla="*/ 54 h 226"/>
                  <a:gd name="T6" fmla="*/ 186 w 204"/>
                  <a:gd name="T7" fmla="*/ 122 h 226"/>
                  <a:gd name="T8" fmla="*/ 204 w 204"/>
                  <a:gd name="T9" fmla="*/ 196 h 226"/>
                  <a:gd name="T10" fmla="*/ 70 w 204"/>
                  <a:gd name="T11" fmla="*/ 226 h 226"/>
                  <a:gd name="T12" fmla="*/ 60 w 204"/>
                  <a:gd name="T13" fmla="*/ 176 h 226"/>
                  <a:gd name="T14" fmla="*/ 28 w 204"/>
                  <a:gd name="T15" fmla="*/ 188 h 226"/>
                  <a:gd name="T16" fmla="*/ 24 w 204"/>
                  <a:gd name="T17" fmla="*/ 168 h 226"/>
                  <a:gd name="T18" fmla="*/ 30 w 204"/>
                  <a:gd name="T19" fmla="*/ 166 h 226"/>
                  <a:gd name="T20" fmla="*/ 0 w 204"/>
                  <a:gd name="T21" fmla="*/ 32 h 22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4" h="226">
                    <a:moveTo>
                      <a:pt x="0" y="32"/>
                    </a:moveTo>
                    <a:lnTo>
                      <a:pt x="144" y="0"/>
                    </a:lnTo>
                    <a:lnTo>
                      <a:pt x="154" y="54"/>
                    </a:lnTo>
                    <a:lnTo>
                      <a:pt x="186" y="122"/>
                    </a:lnTo>
                    <a:lnTo>
                      <a:pt x="204" y="196"/>
                    </a:lnTo>
                    <a:lnTo>
                      <a:pt x="70" y="226"/>
                    </a:lnTo>
                    <a:lnTo>
                      <a:pt x="60" y="176"/>
                    </a:lnTo>
                    <a:lnTo>
                      <a:pt x="28" y="188"/>
                    </a:lnTo>
                    <a:lnTo>
                      <a:pt x="24" y="168"/>
                    </a:lnTo>
                    <a:lnTo>
                      <a:pt x="30" y="166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8" name="Freeform 19">
                <a:extLst>
                  <a:ext uri="{FF2B5EF4-FFF2-40B4-BE49-F238E27FC236}">
                    <a16:creationId xmlns:a16="http://schemas.microsoft.com/office/drawing/2014/main" id="{17171C52-5CE8-42D3-ACB9-E82654514B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2" y="2188"/>
                <a:ext cx="244" cy="176"/>
              </a:xfrm>
              <a:custGeom>
                <a:avLst/>
                <a:gdLst>
                  <a:gd name="T0" fmla="*/ 100 w 244"/>
                  <a:gd name="T1" fmla="*/ 160 h 176"/>
                  <a:gd name="T2" fmla="*/ 0 w 244"/>
                  <a:gd name="T3" fmla="*/ 176 h 176"/>
                  <a:gd name="T4" fmla="*/ 0 w 244"/>
                  <a:gd name="T5" fmla="*/ 160 h 176"/>
                  <a:gd name="T6" fmla="*/ 6 w 244"/>
                  <a:gd name="T7" fmla="*/ 118 h 176"/>
                  <a:gd name="T8" fmla="*/ 20 w 244"/>
                  <a:gd name="T9" fmla="*/ 98 h 176"/>
                  <a:gd name="T10" fmla="*/ 20 w 244"/>
                  <a:gd name="T11" fmla="*/ 82 h 176"/>
                  <a:gd name="T12" fmla="*/ 48 w 244"/>
                  <a:gd name="T13" fmla="*/ 48 h 176"/>
                  <a:gd name="T14" fmla="*/ 94 w 244"/>
                  <a:gd name="T15" fmla="*/ 28 h 176"/>
                  <a:gd name="T16" fmla="*/ 96 w 244"/>
                  <a:gd name="T17" fmla="*/ 12 h 176"/>
                  <a:gd name="T18" fmla="*/ 128 w 244"/>
                  <a:gd name="T19" fmla="*/ 0 h 176"/>
                  <a:gd name="T20" fmla="*/ 184 w 244"/>
                  <a:gd name="T21" fmla="*/ 18 h 176"/>
                  <a:gd name="T22" fmla="*/ 216 w 244"/>
                  <a:gd name="T23" fmla="*/ 58 h 176"/>
                  <a:gd name="T24" fmla="*/ 236 w 244"/>
                  <a:gd name="T25" fmla="*/ 100 h 176"/>
                  <a:gd name="T26" fmla="*/ 244 w 244"/>
                  <a:gd name="T27" fmla="*/ 128 h 176"/>
                  <a:gd name="T28" fmla="*/ 100 w 244"/>
                  <a:gd name="T29" fmla="*/ 160 h 17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4" h="176">
                    <a:moveTo>
                      <a:pt x="100" y="160"/>
                    </a:moveTo>
                    <a:lnTo>
                      <a:pt x="0" y="176"/>
                    </a:lnTo>
                    <a:lnTo>
                      <a:pt x="0" y="160"/>
                    </a:lnTo>
                    <a:lnTo>
                      <a:pt x="6" y="118"/>
                    </a:lnTo>
                    <a:lnTo>
                      <a:pt x="20" y="98"/>
                    </a:lnTo>
                    <a:lnTo>
                      <a:pt x="20" y="82"/>
                    </a:lnTo>
                    <a:lnTo>
                      <a:pt x="48" y="48"/>
                    </a:lnTo>
                    <a:lnTo>
                      <a:pt x="94" y="28"/>
                    </a:lnTo>
                    <a:lnTo>
                      <a:pt x="96" y="12"/>
                    </a:lnTo>
                    <a:lnTo>
                      <a:pt x="128" y="0"/>
                    </a:lnTo>
                    <a:lnTo>
                      <a:pt x="184" y="18"/>
                    </a:lnTo>
                    <a:lnTo>
                      <a:pt x="216" y="58"/>
                    </a:lnTo>
                    <a:lnTo>
                      <a:pt x="236" y="100"/>
                    </a:lnTo>
                    <a:lnTo>
                      <a:pt x="244" y="128"/>
                    </a:lnTo>
                    <a:lnTo>
                      <a:pt x="100" y="160"/>
                    </a:lnTo>
                    <a:close/>
                  </a:path>
                </a:pathLst>
              </a:custGeom>
              <a:solidFill>
                <a:schemeClr val="tx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69" name="Freeform 20">
                <a:extLst>
                  <a:ext uri="{FF2B5EF4-FFF2-40B4-BE49-F238E27FC236}">
                    <a16:creationId xmlns:a16="http://schemas.microsoft.com/office/drawing/2014/main" id="{E938C721-0BC5-46A9-ADAC-6FE2F832A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6" y="2348"/>
                <a:ext cx="186" cy="208"/>
              </a:xfrm>
              <a:custGeom>
                <a:avLst/>
                <a:gdLst>
                  <a:gd name="T0" fmla="*/ 0 w 186"/>
                  <a:gd name="T1" fmla="*/ 66 h 208"/>
                  <a:gd name="T2" fmla="*/ 40 w 186"/>
                  <a:gd name="T3" fmla="*/ 8 h 208"/>
                  <a:gd name="T4" fmla="*/ 56 w 186"/>
                  <a:gd name="T5" fmla="*/ 4 h 208"/>
                  <a:gd name="T6" fmla="*/ 56 w 186"/>
                  <a:gd name="T7" fmla="*/ 16 h 208"/>
                  <a:gd name="T8" fmla="*/ 156 w 186"/>
                  <a:gd name="T9" fmla="*/ 0 h 208"/>
                  <a:gd name="T10" fmla="*/ 186 w 186"/>
                  <a:gd name="T11" fmla="*/ 134 h 208"/>
                  <a:gd name="T12" fmla="*/ 180 w 186"/>
                  <a:gd name="T13" fmla="*/ 136 h 208"/>
                  <a:gd name="T14" fmla="*/ 114 w 186"/>
                  <a:gd name="T15" fmla="*/ 148 h 208"/>
                  <a:gd name="T16" fmla="*/ 120 w 186"/>
                  <a:gd name="T17" fmla="*/ 184 h 208"/>
                  <a:gd name="T18" fmla="*/ 92 w 186"/>
                  <a:gd name="T19" fmla="*/ 194 h 208"/>
                  <a:gd name="T20" fmla="*/ 24 w 186"/>
                  <a:gd name="T21" fmla="*/ 208 h 208"/>
                  <a:gd name="T22" fmla="*/ 4 w 186"/>
                  <a:gd name="T23" fmla="*/ 106 h 208"/>
                  <a:gd name="T24" fmla="*/ 0 w 186"/>
                  <a:gd name="T25" fmla="*/ 66 h 20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6" h="208">
                    <a:moveTo>
                      <a:pt x="0" y="66"/>
                    </a:moveTo>
                    <a:lnTo>
                      <a:pt x="40" y="8"/>
                    </a:lnTo>
                    <a:lnTo>
                      <a:pt x="56" y="4"/>
                    </a:lnTo>
                    <a:lnTo>
                      <a:pt x="56" y="16"/>
                    </a:lnTo>
                    <a:lnTo>
                      <a:pt x="156" y="0"/>
                    </a:lnTo>
                    <a:lnTo>
                      <a:pt x="186" y="134"/>
                    </a:lnTo>
                    <a:lnTo>
                      <a:pt x="180" y="136"/>
                    </a:lnTo>
                    <a:lnTo>
                      <a:pt x="114" y="148"/>
                    </a:lnTo>
                    <a:lnTo>
                      <a:pt x="120" y="184"/>
                    </a:lnTo>
                    <a:lnTo>
                      <a:pt x="92" y="194"/>
                    </a:lnTo>
                    <a:lnTo>
                      <a:pt x="24" y="208"/>
                    </a:lnTo>
                    <a:lnTo>
                      <a:pt x="4" y="106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0" name="Freeform 21">
                <a:extLst>
                  <a:ext uri="{FF2B5EF4-FFF2-40B4-BE49-F238E27FC236}">
                    <a16:creationId xmlns:a16="http://schemas.microsoft.com/office/drawing/2014/main" id="{47C40C70-58A4-429D-B591-6B8429750B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2484"/>
                <a:ext cx="156" cy="188"/>
              </a:xfrm>
              <a:custGeom>
                <a:avLst/>
                <a:gdLst>
                  <a:gd name="T0" fmla="*/ 0 w 156"/>
                  <a:gd name="T1" fmla="*/ 58 h 188"/>
                  <a:gd name="T2" fmla="*/ 28 w 156"/>
                  <a:gd name="T3" fmla="*/ 48 h 188"/>
                  <a:gd name="T4" fmla="*/ 22 w 156"/>
                  <a:gd name="T5" fmla="*/ 12 h 188"/>
                  <a:gd name="T6" fmla="*/ 88 w 156"/>
                  <a:gd name="T7" fmla="*/ 0 h 188"/>
                  <a:gd name="T8" fmla="*/ 92 w 156"/>
                  <a:gd name="T9" fmla="*/ 20 h 188"/>
                  <a:gd name="T10" fmla="*/ 124 w 156"/>
                  <a:gd name="T11" fmla="*/ 8 h 188"/>
                  <a:gd name="T12" fmla="*/ 134 w 156"/>
                  <a:gd name="T13" fmla="*/ 58 h 188"/>
                  <a:gd name="T14" fmla="*/ 156 w 156"/>
                  <a:gd name="T15" fmla="*/ 160 h 188"/>
                  <a:gd name="T16" fmla="*/ 122 w 156"/>
                  <a:gd name="T17" fmla="*/ 166 h 188"/>
                  <a:gd name="T18" fmla="*/ 24 w 156"/>
                  <a:gd name="T19" fmla="*/ 188 h 188"/>
                  <a:gd name="T20" fmla="*/ 0 w 156"/>
                  <a:gd name="T21" fmla="*/ 58 h 18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6" h="188">
                    <a:moveTo>
                      <a:pt x="0" y="58"/>
                    </a:moveTo>
                    <a:lnTo>
                      <a:pt x="28" y="48"/>
                    </a:lnTo>
                    <a:lnTo>
                      <a:pt x="22" y="12"/>
                    </a:lnTo>
                    <a:lnTo>
                      <a:pt x="88" y="0"/>
                    </a:lnTo>
                    <a:lnTo>
                      <a:pt x="92" y="20"/>
                    </a:lnTo>
                    <a:lnTo>
                      <a:pt x="124" y="8"/>
                    </a:lnTo>
                    <a:lnTo>
                      <a:pt x="134" y="58"/>
                    </a:lnTo>
                    <a:lnTo>
                      <a:pt x="156" y="160"/>
                    </a:lnTo>
                    <a:lnTo>
                      <a:pt x="122" y="166"/>
                    </a:lnTo>
                    <a:lnTo>
                      <a:pt x="24" y="188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1" name="Freeform 22">
                <a:extLst>
                  <a:ext uri="{FF2B5EF4-FFF2-40B4-BE49-F238E27FC236}">
                    <a16:creationId xmlns:a16="http://schemas.microsoft.com/office/drawing/2014/main" id="{EBCD2EFC-0D20-4DD6-920D-0B0D57818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" y="2272"/>
                <a:ext cx="156" cy="188"/>
              </a:xfrm>
              <a:custGeom>
                <a:avLst/>
                <a:gdLst>
                  <a:gd name="T0" fmla="*/ 0 w 156"/>
                  <a:gd name="T1" fmla="*/ 4 h 188"/>
                  <a:gd name="T2" fmla="*/ 32 w 156"/>
                  <a:gd name="T3" fmla="*/ 0 h 188"/>
                  <a:gd name="T4" fmla="*/ 38 w 156"/>
                  <a:gd name="T5" fmla="*/ 32 h 188"/>
                  <a:gd name="T6" fmla="*/ 68 w 156"/>
                  <a:gd name="T7" fmla="*/ 26 h 188"/>
                  <a:gd name="T8" fmla="*/ 66 w 156"/>
                  <a:gd name="T9" fmla="*/ 84 h 188"/>
                  <a:gd name="T10" fmla="*/ 100 w 156"/>
                  <a:gd name="T11" fmla="*/ 124 h 188"/>
                  <a:gd name="T12" fmla="*/ 142 w 156"/>
                  <a:gd name="T13" fmla="*/ 128 h 188"/>
                  <a:gd name="T14" fmla="*/ 152 w 156"/>
                  <a:gd name="T15" fmla="*/ 142 h 188"/>
                  <a:gd name="T16" fmla="*/ 156 w 156"/>
                  <a:gd name="T17" fmla="*/ 182 h 188"/>
                  <a:gd name="T18" fmla="*/ 124 w 156"/>
                  <a:gd name="T19" fmla="*/ 188 h 188"/>
                  <a:gd name="T20" fmla="*/ 124 w 156"/>
                  <a:gd name="T21" fmla="*/ 176 h 188"/>
                  <a:gd name="T22" fmla="*/ 58 w 156"/>
                  <a:gd name="T23" fmla="*/ 180 h 188"/>
                  <a:gd name="T24" fmla="*/ 56 w 156"/>
                  <a:gd name="T25" fmla="*/ 168 h 188"/>
                  <a:gd name="T26" fmla="*/ 22 w 156"/>
                  <a:gd name="T27" fmla="*/ 174 h 188"/>
                  <a:gd name="T28" fmla="*/ 4 w 156"/>
                  <a:gd name="T29" fmla="*/ 68 h 188"/>
                  <a:gd name="T30" fmla="*/ 0 w 156"/>
                  <a:gd name="T31" fmla="*/ 4 h 18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56" h="188">
                    <a:moveTo>
                      <a:pt x="0" y="4"/>
                    </a:moveTo>
                    <a:lnTo>
                      <a:pt x="32" y="0"/>
                    </a:lnTo>
                    <a:lnTo>
                      <a:pt x="38" y="32"/>
                    </a:lnTo>
                    <a:lnTo>
                      <a:pt x="68" y="26"/>
                    </a:lnTo>
                    <a:lnTo>
                      <a:pt x="66" y="84"/>
                    </a:lnTo>
                    <a:lnTo>
                      <a:pt x="100" y="124"/>
                    </a:lnTo>
                    <a:lnTo>
                      <a:pt x="142" y="128"/>
                    </a:lnTo>
                    <a:lnTo>
                      <a:pt x="152" y="142"/>
                    </a:lnTo>
                    <a:lnTo>
                      <a:pt x="156" y="182"/>
                    </a:lnTo>
                    <a:lnTo>
                      <a:pt x="124" y="188"/>
                    </a:lnTo>
                    <a:lnTo>
                      <a:pt x="124" y="176"/>
                    </a:lnTo>
                    <a:lnTo>
                      <a:pt x="58" y="180"/>
                    </a:lnTo>
                    <a:lnTo>
                      <a:pt x="56" y="168"/>
                    </a:lnTo>
                    <a:lnTo>
                      <a:pt x="22" y="174"/>
                    </a:lnTo>
                    <a:lnTo>
                      <a:pt x="4" y="68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2" name="Freeform 23">
                <a:extLst>
                  <a:ext uri="{FF2B5EF4-FFF2-40B4-BE49-F238E27FC236}">
                    <a16:creationId xmlns:a16="http://schemas.microsoft.com/office/drawing/2014/main" id="{96099365-4471-4371-9700-BEEBD87D8C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2" y="2184"/>
                <a:ext cx="164" cy="120"/>
              </a:xfrm>
              <a:custGeom>
                <a:avLst/>
                <a:gdLst>
                  <a:gd name="T0" fmla="*/ 0 w 164"/>
                  <a:gd name="T1" fmla="*/ 26 h 120"/>
                  <a:gd name="T2" fmla="*/ 74 w 164"/>
                  <a:gd name="T3" fmla="*/ 14 h 120"/>
                  <a:gd name="T4" fmla="*/ 164 w 164"/>
                  <a:gd name="T5" fmla="*/ 0 h 120"/>
                  <a:gd name="T6" fmla="*/ 162 w 164"/>
                  <a:gd name="T7" fmla="*/ 38 h 120"/>
                  <a:gd name="T8" fmla="*/ 134 w 164"/>
                  <a:gd name="T9" fmla="*/ 72 h 120"/>
                  <a:gd name="T10" fmla="*/ 122 w 164"/>
                  <a:gd name="T11" fmla="*/ 68 h 120"/>
                  <a:gd name="T12" fmla="*/ 92 w 164"/>
                  <a:gd name="T13" fmla="*/ 82 h 120"/>
                  <a:gd name="T14" fmla="*/ 80 w 164"/>
                  <a:gd name="T15" fmla="*/ 114 h 120"/>
                  <a:gd name="T16" fmla="*/ 50 w 164"/>
                  <a:gd name="T17" fmla="*/ 120 h 120"/>
                  <a:gd name="T18" fmla="*/ 44 w 164"/>
                  <a:gd name="T19" fmla="*/ 88 h 120"/>
                  <a:gd name="T20" fmla="*/ 12 w 164"/>
                  <a:gd name="T21" fmla="*/ 92 h 120"/>
                  <a:gd name="T22" fmla="*/ 0 w 164"/>
                  <a:gd name="T23" fmla="*/ 26 h 1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4" h="120">
                    <a:moveTo>
                      <a:pt x="0" y="26"/>
                    </a:moveTo>
                    <a:lnTo>
                      <a:pt x="74" y="14"/>
                    </a:lnTo>
                    <a:lnTo>
                      <a:pt x="164" y="0"/>
                    </a:lnTo>
                    <a:lnTo>
                      <a:pt x="162" y="38"/>
                    </a:lnTo>
                    <a:lnTo>
                      <a:pt x="134" y="72"/>
                    </a:lnTo>
                    <a:lnTo>
                      <a:pt x="122" y="68"/>
                    </a:lnTo>
                    <a:lnTo>
                      <a:pt x="92" y="82"/>
                    </a:lnTo>
                    <a:lnTo>
                      <a:pt x="80" y="114"/>
                    </a:lnTo>
                    <a:lnTo>
                      <a:pt x="50" y="120"/>
                    </a:lnTo>
                    <a:lnTo>
                      <a:pt x="44" y="88"/>
                    </a:lnTo>
                    <a:lnTo>
                      <a:pt x="12" y="92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3" name="Freeform 24">
                <a:extLst>
                  <a:ext uri="{FF2B5EF4-FFF2-40B4-BE49-F238E27FC236}">
                    <a16:creationId xmlns:a16="http://schemas.microsoft.com/office/drawing/2014/main" id="{4DE548F9-2A83-415E-B88A-AD00A88032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6" y="2040"/>
                <a:ext cx="154" cy="158"/>
              </a:xfrm>
              <a:custGeom>
                <a:avLst/>
                <a:gdLst>
                  <a:gd name="T0" fmla="*/ 0 w 154"/>
                  <a:gd name="T1" fmla="*/ 24 h 158"/>
                  <a:gd name="T2" fmla="*/ 154 w 154"/>
                  <a:gd name="T3" fmla="*/ 0 h 158"/>
                  <a:gd name="T4" fmla="*/ 154 w 154"/>
                  <a:gd name="T5" fmla="*/ 76 h 158"/>
                  <a:gd name="T6" fmla="*/ 138 w 154"/>
                  <a:gd name="T7" fmla="*/ 100 h 158"/>
                  <a:gd name="T8" fmla="*/ 118 w 154"/>
                  <a:gd name="T9" fmla="*/ 102 h 158"/>
                  <a:gd name="T10" fmla="*/ 110 w 154"/>
                  <a:gd name="T11" fmla="*/ 144 h 158"/>
                  <a:gd name="T12" fmla="*/ 20 w 154"/>
                  <a:gd name="T13" fmla="*/ 158 h 158"/>
                  <a:gd name="T14" fmla="*/ 0 w 154"/>
                  <a:gd name="T15" fmla="*/ 24 h 15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4" h="158">
                    <a:moveTo>
                      <a:pt x="0" y="24"/>
                    </a:moveTo>
                    <a:lnTo>
                      <a:pt x="154" y="0"/>
                    </a:lnTo>
                    <a:lnTo>
                      <a:pt x="154" y="76"/>
                    </a:lnTo>
                    <a:lnTo>
                      <a:pt x="138" y="100"/>
                    </a:lnTo>
                    <a:lnTo>
                      <a:pt x="118" y="102"/>
                    </a:lnTo>
                    <a:lnTo>
                      <a:pt x="110" y="144"/>
                    </a:lnTo>
                    <a:lnTo>
                      <a:pt x="20" y="158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4" name="Freeform 25">
                <a:extLst>
                  <a:ext uri="{FF2B5EF4-FFF2-40B4-BE49-F238E27FC236}">
                    <a16:creationId xmlns:a16="http://schemas.microsoft.com/office/drawing/2014/main" id="{A95D603A-1337-4BEE-89CF-DAFFDC8636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6" y="2542"/>
                <a:ext cx="156" cy="192"/>
              </a:xfrm>
              <a:custGeom>
                <a:avLst/>
                <a:gdLst>
                  <a:gd name="T0" fmla="*/ 96 w 156"/>
                  <a:gd name="T1" fmla="*/ 182 h 192"/>
                  <a:gd name="T2" fmla="*/ 32 w 156"/>
                  <a:gd name="T3" fmla="*/ 192 h 192"/>
                  <a:gd name="T4" fmla="*/ 4 w 156"/>
                  <a:gd name="T5" fmla="*/ 58 h 192"/>
                  <a:gd name="T6" fmla="*/ 0 w 156"/>
                  <a:gd name="T7" fmla="*/ 26 h 192"/>
                  <a:gd name="T8" fmla="*/ 64 w 156"/>
                  <a:gd name="T9" fmla="*/ 14 h 192"/>
                  <a:gd name="T10" fmla="*/ 132 w 156"/>
                  <a:gd name="T11" fmla="*/ 0 h 192"/>
                  <a:gd name="T12" fmla="*/ 156 w 156"/>
                  <a:gd name="T13" fmla="*/ 130 h 192"/>
                  <a:gd name="T14" fmla="*/ 86 w 156"/>
                  <a:gd name="T15" fmla="*/ 144 h 192"/>
                  <a:gd name="T16" fmla="*/ 96 w 156"/>
                  <a:gd name="T17" fmla="*/ 182 h 19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6" h="192">
                    <a:moveTo>
                      <a:pt x="96" y="182"/>
                    </a:moveTo>
                    <a:lnTo>
                      <a:pt x="32" y="192"/>
                    </a:lnTo>
                    <a:lnTo>
                      <a:pt x="4" y="58"/>
                    </a:lnTo>
                    <a:lnTo>
                      <a:pt x="0" y="26"/>
                    </a:lnTo>
                    <a:lnTo>
                      <a:pt x="64" y="14"/>
                    </a:lnTo>
                    <a:lnTo>
                      <a:pt x="132" y="0"/>
                    </a:lnTo>
                    <a:lnTo>
                      <a:pt x="156" y="130"/>
                    </a:lnTo>
                    <a:lnTo>
                      <a:pt x="86" y="144"/>
                    </a:lnTo>
                    <a:lnTo>
                      <a:pt x="96" y="182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5" name="Freeform 26">
                <a:extLst>
                  <a:ext uri="{FF2B5EF4-FFF2-40B4-BE49-F238E27FC236}">
                    <a16:creationId xmlns:a16="http://schemas.microsoft.com/office/drawing/2014/main" id="{309A27E0-263C-44D8-B55B-3FED379182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6" y="2440"/>
                <a:ext cx="204" cy="182"/>
              </a:xfrm>
              <a:custGeom>
                <a:avLst/>
                <a:gdLst>
                  <a:gd name="T0" fmla="*/ 144 w 204"/>
                  <a:gd name="T1" fmla="*/ 160 h 182"/>
                  <a:gd name="T2" fmla="*/ 24 w 204"/>
                  <a:gd name="T3" fmla="*/ 182 h 182"/>
                  <a:gd name="T4" fmla="*/ 0 w 204"/>
                  <a:gd name="T5" fmla="*/ 46 h 182"/>
                  <a:gd name="T6" fmla="*/ 56 w 204"/>
                  <a:gd name="T7" fmla="*/ 34 h 182"/>
                  <a:gd name="T8" fmla="*/ 50 w 204"/>
                  <a:gd name="T9" fmla="*/ 6 h 182"/>
                  <a:gd name="T10" fmla="*/ 84 w 204"/>
                  <a:gd name="T11" fmla="*/ 0 h 182"/>
                  <a:gd name="T12" fmla="*/ 86 w 204"/>
                  <a:gd name="T13" fmla="*/ 12 h 182"/>
                  <a:gd name="T14" fmla="*/ 152 w 204"/>
                  <a:gd name="T15" fmla="*/ 8 h 182"/>
                  <a:gd name="T16" fmla="*/ 152 w 204"/>
                  <a:gd name="T17" fmla="*/ 20 h 182"/>
                  <a:gd name="T18" fmla="*/ 184 w 204"/>
                  <a:gd name="T19" fmla="*/ 14 h 182"/>
                  <a:gd name="T20" fmla="*/ 204 w 204"/>
                  <a:gd name="T21" fmla="*/ 116 h 182"/>
                  <a:gd name="T22" fmla="*/ 140 w 204"/>
                  <a:gd name="T23" fmla="*/ 128 h 182"/>
                  <a:gd name="T24" fmla="*/ 144 w 204"/>
                  <a:gd name="T25" fmla="*/ 160 h 18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4" h="182">
                    <a:moveTo>
                      <a:pt x="144" y="160"/>
                    </a:moveTo>
                    <a:lnTo>
                      <a:pt x="24" y="182"/>
                    </a:lnTo>
                    <a:lnTo>
                      <a:pt x="0" y="46"/>
                    </a:lnTo>
                    <a:lnTo>
                      <a:pt x="56" y="34"/>
                    </a:lnTo>
                    <a:lnTo>
                      <a:pt x="50" y="6"/>
                    </a:lnTo>
                    <a:lnTo>
                      <a:pt x="84" y="0"/>
                    </a:lnTo>
                    <a:lnTo>
                      <a:pt x="86" y="12"/>
                    </a:lnTo>
                    <a:lnTo>
                      <a:pt x="152" y="8"/>
                    </a:lnTo>
                    <a:lnTo>
                      <a:pt x="152" y="20"/>
                    </a:lnTo>
                    <a:lnTo>
                      <a:pt x="184" y="14"/>
                    </a:lnTo>
                    <a:lnTo>
                      <a:pt x="204" y="116"/>
                    </a:lnTo>
                    <a:lnTo>
                      <a:pt x="140" y="128"/>
                    </a:lnTo>
                    <a:lnTo>
                      <a:pt x="144" y="160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6" name="Freeform 27">
                <a:extLst>
                  <a:ext uri="{FF2B5EF4-FFF2-40B4-BE49-F238E27FC236}">
                    <a16:creationId xmlns:a16="http://schemas.microsoft.com/office/drawing/2014/main" id="{FC8D9F8A-65E7-421B-9EDC-407E084B02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0" y="2724"/>
                <a:ext cx="160" cy="156"/>
              </a:xfrm>
              <a:custGeom>
                <a:avLst/>
                <a:gdLst>
                  <a:gd name="T0" fmla="*/ 28 w 160"/>
                  <a:gd name="T1" fmla="*/ 156 h 156"/>
                  <a:gd name="T2" fmla="*/ 0 w 160"/>
                  <a:gd name="T3" fmla="*/ 22 h 156"/>
                  <a:gd name="T4" fmla="*/ 68 w 160"/>
                  <a:gd name="T5" fmla="*/ 10 h 156"/>
                  <a:gd name="T6" fmla="*/ 132 w 160"/>
                  <a:gd name="T7" fmla="*/ 0 h 156"/>
                  <a:gd name="T8" fmla="*/ 160 w 160"/>
                  <a:gd name="T9" fmla="*/ 136 h 156"/>
                  <a:gd name="T10" fmla="*/ 28 w 160"/>
                  <a:gd name="T11" fmla="*/ 15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0" h="156">
                    <a:moveTo>
                      <a:pt x="28" y="156"/>
                    </a:moveTo>
                    <a:lnTo>
                      <a:pt x="0" y="22"/>
                    </a:lnTo>
                    <a:lnTo>
                      <a:pt x="68" y="10"/>
                    </a:lnTo>
                    <a:lnTo>
                      <a:pt x="132" y="0"/>
                    </a:lnTo>
                    <a:lnTo>
                      <a:pt x="160" y="136"/>
                    </a:lnTo>
                    <a:lnTo>
                      <a:pt x="28" y="156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743" b="1" kern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77" name="Freeform 28">
                <a:extLst>
                  <a:ext uri="{FF2B5EF4-FFF2-40B4-BE49-F238E27FC236}">
                    <a16:creationId xmlns:a16="http://schemas.microsoft.com/office/drawing/2014/main" id="{69D5D133-F110-4AB3-9F1F-6AF582128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2" y="1904"/>
                <a:ext cx="178" cy="160"/>
              </a:xfrm>
              <a:custGeom>
                <a:avLst/>
                <a:gdLst>
                  <a:gd name="T0" fmla="*/ 24 w 178"/>
                  <a:gd name="T1" fmla="*/ 160 h 160"/>
                  <a:gd name="T2" fmla="*/ 0 w 178"/>
                  <a:gd name="T3" fmla="*/ 32 h 160"/>
                  <a:gd name="T4" fmla="*/ 140 w 178"/>
                  <a:gd name="T5" fmla="*/ 0 h 160"/>
                  <a:gd name="T6" fmla="*/ 154 w 178"/>
                  <a:gd name="T7" fmla="*/ 4 h 160"/>
                  <a:gd name="T8" fmla="*/ 176 w 178"/>
                  <a:gd name="T9" fmla="*/ 72 h 160"/>
                  <a:gd name="T10" fmla="*/ 178 w 178"/>
                  <a:gd name="T11" fmla="*/ 136 h 160"/>
                  <a:gd name="T12" fmla="*/ 24 w 178"/>
                  <a:gd name="T13" fmla="*/ 160 h 16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78" h="160">
                    <a:moveTo>
                      <a:pt x="24" y="160"/>
                    </a:moveTo>
                    <a:lnTo>
                      <a:pt x="0" y="32"/>
                    </a:lnTo>
                    <a:lnTo>
                      <a:pt x="140" y="0"/>
                    </a:lnTo>
                    <a:lnTo>
                      <a:pt x="154" y="4"/>
                    </a:lnTo>
                    <a:lnTo>
                      <a:pt x="176" y="72"/>
                    </a:lnTo>
                    <a:lnTo>
                      <a:pt x="178" y="136"/>
                    </a:lnTo>
                    <a:lnTo>
                      <a:pt x="24" y="160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8" name="Freeform 29">
                <a:extLst>
                  <a:ext uri="{FF2B5EF4-FFF2-40B4-BE49-F238E27FC236}">
                    <a16:creationId xmlns:a16="http://schemas.microsoft.com/office/drawing/2014/main" id="{EF2725A3-8252-4471-B91B-EF012854BA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1768"/>
                <a:ext cx="182" cy="168"/>
              </a:xfrm>
              <a:custGeom>
                <a:avLst/>
                <a:gdLst>
                  <a:gd name="T0" fmla="*/ 24 w 182"/>
                  <a:gd name="T1" fmla="*/ 168 h 168"/>
                  <a:gd name="T2" fmla="*/ 0 w 182"/>
                  <a:gd name="T3" fmla="*/ 32 h 168"/>
                  <a:gd name="T4" fmla="*/ 130 w 182"/>
                  <a:gd name="T5" fmla="*/ 0 h 168"/>
                  <a:gd name="T6" fmla="*/ 160 w 182"/>
                  <a:gd name="T7" fmla="*/ 30 h 168"/>
                  <a:gd name="T8" fmla="*/ 182 w 182"/>
                  <a:gd name="T9" fmla="*/ 68 h 168"/>
                  <a:gd name="T10" fmla="*/ 142 w 182"/>
                  <a:gd name="T11" fmla="*/ 60 h 168"/>
                  <a:gd name="T12" fmla="*/ 130 w 182"/>
                  <a:gd name="T13" fmla="*/ 92 h 168"/>
                  <a:gd name="T14" fmla="*/ 164 w 182"/>
                  <a:gd name="T15" fmla="*/ 136 h 168"/>
                  <a:gd name="T16" fmla="*/ 24 w 182"/>
                  <a:gd name="T17" fmla="*/ 168 h 16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82" h="168">
                    <a:moveTo>
                      <a:pt x="24" y="168"/>
                    </a:moveTo>
                    <a:lnTo>
                      <a:pt x="0" y="32"/>
                    </a:lnTo>
                    <a:lnTo>
                      <a:pt x="130" y="0"/>
                    </a:lnTo>
                    <a:lnTo>
                      <a:pt x="160" y="30"/>
                    </a:lnTo>
                    <a:lnTo>
                      <a:pt x="182" y="68"/>
                    </a:lnTo>
                    <a:lnTo>
                      <a:pt x="142" y="60"/>
                    </a:lnTo>
                    <a:lnTo>
                      <a:pt x="130" y="92"/>
                    </a:lnTo>
                    <a:lnTo>
                      <a:pt x="164" y="136"/>
                    </a:lnTo>
                    <a:lnTo>
                      <a:pt x="24" y="168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9" name="Freeform 30">
                <a:extLst>
                  <a:ext uri="{FF2B5EF4-FFF2-40B4-BE49-F238E27FC236}">
                    <a16:creationId xmlns:a16="http://schemas.microsoft.com/office/drawing/2014/main" id="{0BF1F66D-5371-468C-8326-0CDBBAB4B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0" y="1642"/>
                <a:ext cx="258" cy="174"/>
              </a:xfrm>
              <a:custGeom>
                <a:avLst/>
                <a:gdLst>
                  <a:gd name="T0" fmla="*/ 128 w 258"/>
                  <a:gd name="T1" fmla="*/ 158 h 174"/>
                  <a:gd name="T2" fmla="*/ 28 w 258"/>
                  <a:gd name="T3" fmla="*/ 174 h 174"/>
                  <a:gd name="T4" fmla="*/ 0 w 258"/>
                  <a:gd name="T5" fmla="*/ 0 h 174"/>
                  <a:gd name="T6" fmla="*/ 24 w 258"/>
                  <a:gd name="T7" fmla="*/ 8 h 174"/>
                  <a:gd name="T8" fmla="*/ 38 w 258"/>
                  <a:gd name="T9" fmla="*/ 28 h 174"/>
                  <a:gd name="T10" fmla="*/ 50 w 258"/>
                  <a:gd name="T11" fmla="*/ 42 h 174"/>
                  <a:gd name="T12" fmla="*/ 56 w 258"/>
                  <a:gd name="T13" fmla="*/ 48 h 174"/>
                  <a:gd name="T14" fmla="*/ 64 w 258"/>
                  <a:gd name="T15" fmla="*/ 48 h 174"/>
                  <a:gd name="T16" fmla="*/ 78 w 258"/>
                  <a:gd name="T17" fmla="*/ 46 h 174"/>
                  <a:gd name="T18" fmla="*/ 98 w 258"/>
                  <a:gd name="T19" fmla="*/ 42 h 174"/>
                  <a:gd name="T20" fmla="*/ 216 w 258"/>
                  <a:gd name="T21" fmla="*/ 74 h 174"/>
                  <a:gd name="T22" fmla="*/ 254 w 258"/>
                  <a:gd name="T23" fmla="*/ 102 h 174"/>
                  <a:gd name="T24" fmla="*/ 258 w 258"/>
                  <a:gd name="T25" fmla="*/ 126 h 174"/>
                  <a:gd name="T26" fmla="*/ 128 w 258"/>
                  <a:gd name="T27" fmla="*/ 158 h 17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58" h="174">
                    <a:moveTo>
                      <a:pt x="128" y="158"/>
                    </a:moveTo>
                    <a:lnTo>
                      <a:pt x="28" y="174"/>
                    </a:lnTo>
                    <a:lnTo>
                      <a:pt x="0" y="0"/>
                    </a:lnTo>
                    <a:lnTo>
                      <a:pt x="24" y="8"/>
                    </a:lnTo>
                    <a:lnTo>
                      <a:pt x="38" y="28"/>
                    </a:lnTo>
                    <a:lnTo>
                      <a:pt x="50" y="42"/>
                    </a:lnTo>
                    <a:lnTo>
                      <a:pt x="56" y="48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8" y="42"/>
                    </a:lnTo>
                    <a:lnTo>
                      <a:pt x="216" y="74"/>
                    </a:lnTo>
                    <a:lnTo>
                      <a:pt x="254" y="102"/>
                    </a:lnTo>
                    <a:lnTo>
                      <a:pt x="258" y="126"/>
                    </a:lnTo>
                    <a:lnTo>
                      <a:pt x="128" y="158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0" name="Freeform 31">
                <a:extLst>
                  <a:ext uri="{FF2B5EF4-FFF2-40B4-BE49-F238E27FC236}">
                    <a16:creationId xmlns:a16="http://schemas.microsoft.com/office/drawing/2014/main" id="{389AB0A8-3E14-4348-B15A-0C1DB7191C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0" y="1610"/>
                <a:ext cx="168" cy="226"/>
              </a:xfrm>
              <a:custGeom>
                <a:avLst/>
                <a:gdLst>
                  <a:gd name="T0" fmla="*/ 168 w 168"/>
                  <a:gd name="T1" fmla="*/ 206 h 226"/>
                  <a:gd name="T2" fmla="*/ 38 w 168"/>
                  <a:gd name="T3" fmla="*/ 226 h 226"/>
                  <a:gd name="T4" fmla="*/ 30 w 168"/>
                  <a:gd name="T5" fmla="*/ 194 h 226"/>
                  <a:gd name="T6" fmla="*/ 0 w 168"/>
                  <a:gd name="T7" fmla="*/ 0 h 226"/>
                  <a:gd name="T8" fmla="*/ 10 w 168"/>
                  <a:gd name="T9" fmla="*/ 2 h 226"/>
                  <a:gd name="T10" fmla="*/ 80 w 168"/>
                  <a:gd name="T11" fmla="*/ 30 h 226"/>
                  <a:gd name="T12" fmla="*/ 108 w 168"/>
                  <a:gd name="T13" fmla="*/ 36 h 226"/>
                  <a:gd name="T14" fmla="*/ 126 w 168"/>
                  <a:gd name="T15" fmla="*/ 22 h 226"/>
                  <a:gd name="T16" fmla="*/ 140 w 168"/>
                  <a:gd name="T17" fmla="*/ 32 h 226"/>
                  <a:gd name="T18" fmla="*/ 168 w 168"/>
                  <a:gd name="T19" fmla="*/ 206 h 2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68" h="226">
                    <a:moveTo>
                      <a:pt x="168" y="206"/>
                    </a:moveTo>
                    <a:lnTo>
                      <a:pt x="38" y="226"/>
                    </a:lnTo>
                    <a:lnTo>
                      <a:pt x="30" y="194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80" y="30"/>
                    </a:lnTo>
                    <a:lnTo>
                      <a:pt x="108" y="36"/>
                    </a:lnTo>
                    <a:lnTo>
                      <a:pt x="126" y="22"/>
                    </a:lnTo>
                    <a:lnTo>
                      <a:pt x="140" y="32"/>
                    </a:lnTo>
                    <a:lnTo>
                      <a:pt x="168" y="206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1" name="Freeform 32">
                <a:extLst>
                  <a:ext uri="{FF2B5EF4-FFF2-40B4-BE49-F238E27FC236}">
                    <a16:creationId xmlns:a16="http://schemas.microsoft.com/office/drawing/2014/main" id="{2A6498B8-0DEF-49C5-BE81-A0C52A523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6" y="1800"/>
                <a:ext cx="156" cy="156"/>
              </a:xfrm>
              <a:custGeom>
                <a:avLst/>
                <a:gdLst>
                  <a:gd name="T0" fmla="*/ 156 w 156"/>
                  <a:gd name="T1" fmla="*/ 136 h 156"/>
                  <a:gd name="T2" fmla="*/ 22 w 156"/>
                  <a:gd name="T3" fmla="*/ 156 h 156"/>
                  <a:gd name="T4" fmla="*/ 0 w 156"/>
                  <a:gd name="T5" fmla="*/ 20 h 156"/>
                  <a:gd name="T6" fmla="*/ 32 w 156"/>
                  <a:gd name="T7" fmla="*/ 16 h 156"/>
                  <a:gd name="T8" fmla="*/ 132 w 156"/>
                  <a:gd name="T9" fmla="*/ 0 h 156"/>
                  <a:gd name="T10" fmla="*/ 156 w 156"/>
                  <a:gd name="T11" fmla="*/ 13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6">
                    <a:moveTo>
                      <a:pt x="156" y="136"/>
                    </a:moveTo>
                    <a:lnTo>
                      <a:pt x="22" y="156"/>
                    </a:lnTo>
                    <a:lnTo>
                      <a:pt x="0" y="20"/>
                    </a:lnTo>
                    <a:lnTo>
                      <a:pt x="32" y="16"/>
                    </a:lnTo>
                    <a:lnTo>
                      <a:pt x="132" y="0"/>
                    </a:lnTo>
                    <a:lnTo>
                      <a:pt x="156" y="136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2" name="Freeform 33">
                <a:extLst>
                  <a:ext uri="{FF2B5EF4-FFF2-40B4-BE49-F238E27FC236}">
                    <a16:creationId xmlns:a16="http://schemas.microsoft.com/office/drawing/2014/main" id="{9B511801-C184-4759-AC13-CFE64714CA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" y="1936"/>
                <a:ext cx="158" cy="156"/>
              </a:xfrm>
              <a:custGeom>
                <a:avLst/>
                <a:gdLst>
                  <a:gd name="T0" fmla="*/ 158 w 158"/>
                  <a:gd name="T1" fmla="*/ 128 h 156"/>
                  <a:gd name="T2" fmla="*/ 24 w 158"/>
                  <a:gd name="T3" fmla="*/ 156 h 156"/>
                  <a:gd name="T4" fmla="*/ 0 w 158"/>
                  <a:gd name="T5" fmla="*/ 20 h 156"/>
                  <a:gd name="T6" fmla="*/ 134 w 158"/>
                  <a:gd name="T7" fmla="*/ 0 h 156"/>
                  <a:gd name="T8" fmla="*/ 158 w 158"/>
                  <a:gd name="T9" fmla="*/ 128 h 1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" h="156">
                    <a:moveTo>
                      <a:pt x="158" y="128"/>
                    </a:moveTo>
                    <a:lnTo>
                      <a:pt x="24" y="156"/>
                    </a:lnTo>
                    <a:lnTo>
                      <a:pt x="0" y="20"/>
                    </a:lnTo>
                    <a:lnTo>
                      <a:pt x="134" y="0"/>
                    </a:lnTo>
                    <a:lnTo>
                      <a:pt x="158" y="128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3" name="Freeform 34">
                <a:extLst>
                  <a:ext uri="{FF2B5EF4-FFF2-40B4-BE49-F238E27FC236}">
                    <a16:creationId xmlns:a16="http://schemas.microsoft.com/office/drawing/2014/main" id="{991CC902-2346-4799-A507-111B3602F8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2064"/>
                <a:ext cx="154" cy="156"/>
              </a:xfrm>
              <a:custGeom>
                <a:avLst/>
                <a:gdLst>
                  <a:gd name="T0" fmla="*/ 154 w 154"/>
                  <a:gd name="T1" fmla="*/ 134 h 156"/>
                  <a:gd name="T2" fmla="*/ 80 w 154"/>
                  <a:gd name="T3" fmla="*/ 146 h 156"/>
                  <a:gd name="T4" fmla="*/ 24 w 154"/>
                  <a:gd name="T5" fmla="*/ 156 h 156"/>
                  <a:gd name="T6" fmla="*/ 0 w 154"/>
                  <a:gd name="T7" fmla="*/ 28 h 156"/>
                  <a:gd name="T8" fmla="*/ 134 w 154"/>
                  <a:gd name="T9" fmla="*/ 0 h 156"/>
                  <a:gd name="T10" fmla="*/ 154 w 154"/>
                  <a:gd name="T11" fmla="*/ 134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56">
                    <a:moveTo>
                      <a:pt x="154" y="134"/>
                    </a:moveTo>
                    <a:lnTo>
                      <a:pt x="80" y="146"/>
                    </a:lnTo>
                    <a:lnTo>
                      <a:pt x="24" y="156"/>
                    </a:lnTo>
                    <a:lnTo>
                      <a:pt x="0" y="28"/>
                    </a:lnTo>
                    <a:lnTo>
                      <a:pt x="134" y="0"/>
                    </a:lnTo>
                    <a:lnTo>
                      <a:pt x="154" y="134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4" name="Freeform 35">
                <a:extLst>
                  <a:ext uri="{FF2B5EF4-FFF2-40B4-BE49-F238E27FC236}">
                    <a16:creationId xmlns:a16="http://schemas.microsoft.com/office/drawing/2014/main" id="{67FC5DCB-3350-4264-A4AE-B5A9F7EF2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4" y="1610"/>
                <a:ext cx="116" cy="206"/>
              </a:xfrm>
              <a:custGeom>
                <a:avLst/>
                <a:gdLst>
                  <a:gd name="T0" fmla="*/ 116 w 116"/>
                  <a:gd name="T1" fmla="*/ 194 h 206"/>
                  <a:gd name="T2" fmla="*/ 40 w 116"/>
                  <a:gd name="T3" fmla="*/ 206 h 206"/>
                  <a:gd name="T4" fmla="*/ 36 w 116"/>
                  <a:gd name="T5" fmla="*/ 192 h 206"/>
                  <a:gd name="T6" fmla="*/ 14 w 116"/>
                  <a:gd name="T7" fmla="*/ 190 h 206"/>
                  <a:gd name="T8" fmla="*/ 12 w 116"/>
                  <a:gd name="T9" fmla="*/ 172 h 206"/>
                  <a:gd name="T10" fmla="*/ 60 w 116"/>
                  <a:gd name="T11" fmla="*/ 166 h 206"/>
                  <a:gd name="T12" fmla="*/ 40 w 116"/>
                  <a:gd name="T13" fmla="*/ 152 h 206"/>
                  <a:gd name="T14" fmla="*/ 8 w 116"/>
                  <a:gd name="T15" fmla="*/ 130 h 206"/>
                  <a:gd name="T16" fmla="*/ 0 w 116"/>
                  <a:gd name="T17" fmla="*/ 86 h 206"/>
                  <a:gd name="T18" fmla="*/ 34 w 116"/>
                  <a:gd name="T19" fmla="*/ 44 h 206"/>
                  <a:gd name="T20" fmla="*/ 24 w 116"/>
                  <a:gd name="T21" fmla="*/ 22 h 206"/>
                  <a:gd name="T22" fmla="*/ 68 w 116"/>
                  <a:gd name="T23" fmla="*/ 18 h 206"/>
                  <a:gd name="T24" fmla="*/ 76 w 116"/>
                  <a:gd name="T25" fmla="*/ 2 h 206"/>
                  <a:gd name="T26" fmla="*/ 86 w 116"/>
                  <a:gd name="T27" fmla="*/ 0 h 206"/>
                  <a:gd name="T28" fmla="*/ 116 w 116"/>
                  <a:gd name="T29" fmla="*/ 194 h 20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16" h="206">
                    <a:moveTo>
                      <a:pt x="116" y="194"/>
                    </a:moveTo>
                    <a:lnTo>
                      <a:pt x="40" y="206"/>
                    </a:lnTo>
                    <a:lnTo>
                      <a:pt x="36" y="192"/>
                    </a:lnTo>
                    <a:lnTo>
                      <a:pt x="14" y="190"/>
                    </a:lnTo>
                    <a:lnTo>
                      <a:pt x="12" y="172"/>
                    </a:lnTo>
                    <a:lnTo>
                      <a:pt x="60" y="166"/>
                    </a:lnTo>
                    <a:lnTo>
                      <a:pt x="40" y="152"/>
                    </a:lnTo>
                    <a:lnTo>
                      <a:pt x="8" y="130"/>
                    </a:lnTo>
                    <a:lnTo>
                      <a:pt x="0" y="86"/>
                    </a:lnTo>
                    <a:lnTo>
                      <a:pt x="34" y="44"/>
                    </a:lnTo>
                    <a:lnTo>
                      <a:pt x="24" y="22"/>
                    </a:lnTo>
                    <a:lnTo>
                      <a:pt x="68" y="18"/>
                    </a:lnTo>
                    <a:lnTo>
                      <a:pt x="76" y="2"/>
                    </a:lnTo>
                    <a:lnTo>
                      <a:pt x="86" y="0"/>
                    </a:lnTo>
                    <a:lnTo>
                      <a:pt x="116" y="194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5" name="Freeform 36">
                <a:extLst>
                  <a:ext uri="{FF2B5EF4-FFF2-40B4-BE49-F238E27FC236}">
                    <a16:creationId xmlns:a16="http://schemas.microsoft.com/office/drawing/2014/main" id="{FE498D06-6A2B-4BC8-8299-78C55D645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1782"/>
                <a:ext cx="184" cy="102"/>
              </a:xfrm>
              <a:custGeom>
                <a:avLst/>
                <a:gdLst>
                  <a:gd name="T0" fmla="*/ 184 w 184"/>
                  <a:gd name="T1" fmla="*/ 88 h 102"/>
                  <a:gd name="T2" fmla="*/ 152 w 184"/>
                  <a:gd name="T3" fmla="*/ 94 h 102"/>
                  <a:gd name="T4" fmla="*/ 52 w 184"/>
                  <a:gd name="T5" fmla="*/ 102 h 102"/>
                  <a:gd name="T6" fmla="*/ 44 w 184"/>
                  <a:gd name="T7" fmla="*/ 70 h 102"/>
                  <a:gd name="T8" fmla="*/ 0 w 184"/>
                  <a:gd name="T9" fmla="*/ 76 h 102"/>
                  <a:gd name="T10" fmla="*/ 4 w 184"/>
                  <a:gd name="T11" fmla="*/ 50 h 102"/>
                  <a:gd name="T12" fmla="*/ 24 w 184"/>
                  <a:gd name="T13" fmla="*/ 38 h 102"/>
                  <a:gd name="T14" fmla="*/ 56 w 184"/>
                  <a:gd name="T15" fmla="*/ 2 h 102"/>
                  <a:gd name="T16" fmla="*/ 68 w 184"/>
                  <a:gd name="T17" fmla="*/ 0 h 102"/>
                  <a:gd name="T18" fmla="*/ 70 w 184"/>
                  <a:gd name="T19" fmla="*/ 18 h 102"/>
                  <a:gd name="T20" fmla="*/ 92 w 184"/>
                  <a:gd name="T21" fmla="*/ 20 h 102"/>
                  <a:gd name="T22" fmla="*/ 96 w 184"/>
                  <a:gd name="T23" fmla="*/ 34 h 102"/>
                  <a:gd name="T24" fmla="*/ 172 w 184"/>
                  <a:gd name="T25" fmla="*/ 22 h 102"/>
                  <a:gd name="T26" fmla="*/ 180 w 184"/>
                  <a:gd name="T27" fmla="*/ 54 h 102"/>
                  <a:gd name="T28" fmla="*/ 184 w 184"/>
                  <a:gd name="T29" fmla="*/ 88 h 10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84" h="102">
                    <a:moveTo>
                      <a:pt x="184" y="88"/>
                    </a:moveTo>
                    <a:lnTo>
                      <a:pt x="152" y="94"/>
                    </a:lnTo>
                    <a:lnTo>
                      <a:pt x="52" y="102"/>
                    </a:lnTo>
                    <a:lnTo>
                      <a:pt x="44" y="70"/>
                    </a:lnTo>
                    <a:lnTo>
                      <a:pt x="0" y="76"/>
                    </a:lnTo>
                    <a:lnTo>
                      <a:pt x="4" y="50"/>
                    </a:lnTo>
                    <a:lnTo>
                      <a:pt x="24" y="38"/>
                    </a:lnTo>
                    <a:lnTo>
                      <a:pt x="56" y="2"/>
                    </a:lnTo>
                    <a:lnTo>
                      <a:pt x="68" y="0"/>
                    </a:lnTo>
                    <a:lnTo>
                      <a:pt x="70" y="18"/>
                    </a:lnTo>
                    <a:lnTo>
                      <a:pt x="92" y="20"/>
                    </a:lnTo>
                    <a:lnTo>
                      <a:pt x="96" y="34"/>
                    </a:lnTo>
                    <a:lnTo>
                      <a:pt x="172" y="22"/>
                    </a:lnTo>
                    <a:lnTo>
                      <a:pt x="180" y="54"/>
                    </a:lnTo>
                    <a:lnTo>
                      <a:pt x="184" y="88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6" name="Freeform 37">
                <a:extLst>
                  <a:ext uri="{FF2B5EF4-FFF2-40B4-BE49-F238E27FC236}">
                    <a16:creationId xmlns:a16="http://schemas.microsoft.com/office/drawing/2014/main" id="{913B4D5A-EC42-4F94-AF6A-D5CE987FA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0" y="1820"/>
                <a:ext cx="148" cy="152"/>
              </a:xfrm>
              <a:custGeom>
                <a:avLst/>
                <a:gdLst>
                  <a:gd name="T0" fmla="*/ 148 w 148"/>
                  <a:gd name="T1" fmla="*/ 136 h 152"/>
                  <a:gd name="T2" fmla="*/ 14 w 148"/>
                  <a:gd name="T3" fmla="*/ 152 h 152"/>
                  <a:gd name="T4" fmla="*/ 0 w 148"/>
                  <a:gd name="T5" fmla="*/ 56 h 152"/>
                  <a:gd name="T6" fmla="*/ 32 w 148"/>
                  <a:gd name="T7" fmla="*/ 50 h 152"/>
                  <a:gd name="T8" fmla="*/ 28 w 148"/>
                  <a:gd name="T9" fmla="*/ 16 h 152"/>
                  <a:gd name="T10" fmla="*/ 126 w 148"/>
                  <a:gd name="T11" fmla="*/ 0 h 152"/>
                  <a:gd name="T12" fmla="*/ 148 w 148"/>
                  <a:gd name="T13" fmla="*/ 136 h 1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8" h="152">
                    <a:moveTo>
                      <a:pt x="148" y="136"/>
                    </a:moveTo>
                    <a:lnTo>
                      <a:pt x="14" y="152"/>
                    </a:lnTo>
                    <a:lnTo>
                      <a:pt x="0" y="56"/>
                    </a:lnTo>
                    <a:lnTo>
                      <a:pt x="32" y="50"/>
                    </a:lnTo>
                    <a:lnTo>
                      <a:pt x="28" y="16"/>
                    </a:lnTo>
                    <a:lnTo>
                      <a:pt x="126" y="0"/>
                    </a:lnTo>
                    <a:lnTo>
                      <a:pt x="148" y="136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7" name="Freeform 38">
                <a:extLst>
                  <a:ext uri="{FF2B5EF4-FFF2-40B4-BE49-F238E27FC236}">
                    <a16:creationId xmlns:a16="http://schemas.microsoft.com/office/drawing/2014/main" id="{DA131D80-B748-4CF9-936A-2A4B828C8B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1852"/>
                <a:ext cx="166" cy="168"/>
              </a:xfrm>
              <a:custGeom>
                <a:avLst/>
                <a:gdLst>
                  <a:gd name="T0" fmla="*/ 166 w 166"/>
                  <a:gd name="T1" fmla="*/ 120 h 168"/>
                  <a:gd name="T2" fmla="*/ 50 w 166"/>
                  <a:gd name="T3" fmla="*/ 140 h 168"/>
                  <a:gd name="T4" fmla="*/ 40 w 166"/>
                  <a:gd name="T5" fmla="*/ 148 h 168"/>
                  <a:gd name="T6" fmla="*/ 50 w 166"/>
                  <a:gd name="T7" fmla="*/ 160 h 168"/>
                  <a:gd name="T8" fmla="*/ 44 w 166"/>
                  <a:gd name="T9" fmla="*/ 168 h 168"/>
                  <a:gd name="T10" fmla="*/ 32 w 166"/>
                  <a:gd name="T11" fmla="*/ 156 h 168"/>
                  <a:gd name="T12" fmla="*/ 20 w 166"/>
                  <a:gd name="T13" fmla="*/ 162 h 168"/>
                  <a:gd name="T14" fmla="*/ 20 w 166"/>
                  <a:gd name="T15" fmla="*/ 144 h 168"/>
                  <a:gd name="T16" fmla="*/ 12 w 166"/>
                  <a:gd name="T17" fmla="*/ 144 h 168"/>
                  <a:gd name="T18" fmla="*/ 12 w 166"/>
                  <a:gd name="T19" fmla="*/ 120 h 168"/>
                  <a:gd name="T20" fmla="*/ 16 w 166"/>
                  <a:gd name="T21" fmla="*/ 64 h 168"/>
                  <a:gd name="T22" fmla="*/ 0 w 166"/>
                  <a:gd name="T23" fmla="*/ 6 h 168"/>
                  <a:gd name="T24" fmla="*/ 44 w 166"/>
                  <a:gd name="T25" fmla="*/ 0 h 168"/>
                  <a:gd name="T26" fmla="*/ 52 w 166"/>
                  <a:gd name="T27" fmla="*/ 32 h 168"/>
                  <a:gd name="T28" fmla="*/ 152 w 166"/>
                  <a:gd name="T29" fmla="*/ 24 h 168"/>
                  <a:gd name="T30" fmla="*/ 166 w 166"/>
                  <a:gd name="T31" fmla="*/ 120 h 16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66" h="168">
                    <a:moveTo>
                      <a:pt x="166" y="120"/>
                    </a:moveTo>
                    <a:lnTo>
                      <a:pt x="50" y="140"/>
                    </a:lnTo>
                    <a:lnTo>
                      <a:pt x="40" y="148"/>
                    </a:lnTo>
                    <a:lnTo>
                      <a:pt x="50" y="160"/>
                    </a:lnTo>
                    <a:lnTo>
                      <a:pt x="44" y="168"/>
                    </a:lnTo>
                    <a:lnTo>
                      <a:pt x="32" y="156"/>
                    </a:lnTo>
                    <a:lnTo>
                      <a:pt x="20" y="162"/>
                    </a:lnTo>
                    <a:lnTo>
                      <a:pt x="20" y="144"/>
                    </a:lnTo>
                    <a:lnTo>
                      <a:pt x="12" y="144"/>
                    </a:lnTo>
                    <a:lnTo>
                      <a:pt x="12" y="120"/>
                    </a:lnTo>
                    <a:lnTo>
                      <a:pt x="16" y="64"/>
                    </a:lnTo>
                    <a:lnTo>
                      <a:pt x="0" y="6"/>
                    </a:lnTo>
                    <a:lnTo>
                      <a:pt x="44" y="0"/>
                    </a:lnTo>
                    <a:lnTo>
                      <a:pt x="52" y="32"/>
                    </a:lnTo>
                    <a:lnTo>
                      <a:pt x="152" y="24"/>
                    </a:lnTo>
                    <a:lnTo>
                      <a:pt x="166" y="120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8" name="Freeform 39">
                <a:extLst>
                  <a:ext uri="{FF2B5EF4-FFF2-40B4-BE49-F238E27FC236}">
                    <a16:creationId xmlns:a16="http://schemas.microsoft.com/office/drawing/2014/main" id="{469D0130-63B2-4028-8856-FF36A5C1D9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1956"/>
                <a:ext cx="158" cy="152"/>
              </a:xfrm>
              <a:custGeom>
                <a:avLst/>
                <a:gdLst>
                  <a:gd name="T0" fmla="*/ 158 w 158"/>
                  <a:gd name="T1" fmla="*/ 136 h 152"/>
                  <a:gd name="T2" fmla="*/ 22 w 158"/>
                  <a:gd name="T3" fmla="*/ 152 h 152"/>
                  <a:gd name="T4" fmla="*/ 0 w 158"/>
                  <a:gd name="T5" fmla="*/ 16 h 152"/>
                  <a:gd name="T6" fmla="*/ 134 w 158"/>
                  <a:gd name="T7" fmla="*/ 0 h 152"/>
                  <a:gd name="T8" fmla="*/ 158 w 158"/>
                  <a:gd name="T9" fmla="*/ 136 h 1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" h="152">
                    <a:moveTo>
                      <a:pt x="158" y="136"/>
                    </a:moveTo>
                    <a:lnTo>
                      <a:pt x="22" y="152"/>
                    </a:lnTo>
                    <a:lnTo>
                      <a:pt x="0" y="16"/>
                    </a:lnTo>
                    <a:lnTo>
                      <a:pt x="134" y="0"/>
                    </a:lnTo>
                    <a:lnTo>
                      <a:pt x="158" y="136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9" name="Freeform 40">
                <a:extLst>
                  <a:ext uri="{FF2B5EF4-FFF2-40B4-BE49-F238E27FC236}">
                    <a16:creationId xmlns:a16="http://schemas.microsoft.com/office/drawing/2014/main" id="{2DFB3E30-0503-45AA-8568-EBB9EDA15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6" y="2092"/>
                <a:ext cx="160" cy="150"/>
              </a:xfrm>
              <a:custGeom>
                <a:avLst/>
                <a:gdLst>
                  <a:gd name="T0" fmla="*/ 160 w 160"/>
                  <a:gd name="T1" fmla="*/ 128 h 150"/>
                  <a:gd name="T2" fmla="*/ 92 w 160"/>
                  <a:gd name="T3" fmla="*/ 140 h 150"/>
                  <a:gd name="T4" fmla="*/ 20 w 160"/>
                  <a:gd name="T5" fmla="*/ 150 h 150"/>
                  <a:gd name="T6" fmla="*/ 0 w 160"/>
                  <a:gd name="T7" fmla="*/ 16 h 150"/>
                  <a:gd name="T8" fmla="*/ 136 w 160"/>
                  <a:gd name="T9" fmla="*/ 0 h 150"/>
                  <a:gd name="T10" fmla="*/ 160 w 160"/>
                  <a:gd name="T11" fmla="*/ 128 h 15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0" h="150">
                    <a:moveTo>
                      <a:pt x="160" y="128"/>
                    </a:moveTo>
                    <a:lnTo>
                      <a:pt x="92" y="140"/>
                    </a:lnTo>
                    <a:lnTo>
                      <a:pt x="20" y="150"/>
                    </a:lnTo>
                    <a:lnTo>
                      <a:pt x="0" y="16"/>
                    </a:lnTo>
                    <a:lnTo>
                      <a:pt x="136" y="0"/>
                    </a:lnTo>
                    <a:lnTo>
                      <a:pt x="160" y="128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0" name="Freeform 41">
                <a:extLst>
                  <a:ext uri="{FF2B5EF4-FFF2-40B4-BE49-F238E27FC236}">
                    <a16:creationId xmlns:a16="http://schemas.microsoft.com/office/drawing/2014/main" id="{BB814CDA-4C42-4603-969B-1654064F1A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8" y="1972"/>
                <a:ext cx="148" cy="156"/>
              </a:xfrm>
              <a:custGeom>
                <a:avLst/>
                <a:gdLst>
                  <a:gd name="T0" fmla="*/ 148 w 148"/>
                  <a:gd name="T1" fmla="*/ 136 h 156"/>
                  <a:gd name="T2" fmla="*/ 20 w 148"/>
                  <a:gd name="T3" fmla="*/ 156 h 156"/>
                  <a:gd name="T4" fmla="*/ 4 w 148"/>
                  <a:gd name="T5" fmla="*/ 48 h 156"/>
                  <a:gd name="T6" fmla="*/ 10 w 148"/>
                  <a:gd name="T7" fmla="*/ 40 h 156"/>
                  <a:gd name="T8" fmla="*/ 0 w 148"/>
                  <a:gd name="T9" fmla="*/ 28 h 156"/>
                  <a:gd name="T10" fmla="*/ 10 w 148"/>
                  <a:gd name="T11" fmla="*/ 20 h 156"/>
                  <a:gd name="T12" fmla="*/ 126 w 148"/>
                  <a:gd name="T13" fmla="*/ 0 h 156"/>
                  <a:gd name="T14" fmla="*/ 148 w 148"/>
                  <a:gd name="T15" fmla="*/ 136 h 15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8" h="156">
                    <a:moveTo>
                      <a:pt x="148" y="136"/>
                    </a:moveTo>
                    <a:lnTo>
                      <a:pt x="20" y="156"/>
                    </a:lnTo>
                    <a:lnTo>
                      <a:pt x="4" y="48"/>
                    </a:lnTo>
                    <a:lnTo>
                      <a:pt x="10" y="40"/>
                    </a:lnTo>
                    <a:lnTo>
                      <a:pt x="0" y="28"/>
                    </a:lnTo>
                    <a:lnTo>
                      <a:pt x="10" y="20"/>
                    </a:lnTo>
                    <a:lnTo>
                      <a:pt x="126" y="0"/>
                    </a:lnTo>
                    <a:lnTo>
                      <a:pt x="148" y="136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1" name="Freeform 42">
                <a:extLst>
                  <a:ext uri="{FF2B5EF4-FFF2-40B4-BE49-F238E27FC236}">
                    <a16:creationId xmlns:a16="http://schemas.microsoft.com/office/drawing/2014/main" id="{27A98A8C-B261-4C1D-AAA8-89B72FF93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2108"/>
                <a:ext cx="148" cy="156"/>
              </a:xfrm>
              <a:custGeom>
                <a:avLst/>
                <a:gdLst>
                  <a:gd name="T0" fmla="*/ 148 w 148"/>
                  <a:gd name="T1" fmla="*/ 134 h 156"/>
                  <a:gd name="T2" fmla="*/ 86 w 148"/>
                  <a:gd name="T3" fmla="*/ 146 h 156"/>
                  <a:gd name="T4" fmla="*/ 20 w 148"/>
                  <a:gd name="T5" fmla="*/ 156 h 156"/>
                  <a:gd name="T6" fmla="*/ 0 w 148"/>
                  <a:gd name="T7" fmla="*/ 20 h 156"/>
                  <a:gd name="T8" fmla="*/ 128 w 148"/>
                  <a:gd name="T9" fmla="*/ 0 h 156"/>
                  <a:gd name="T10" fmla="*/ 148 w 148"/>
                  <a:gd name="T11" fmla="*/ 134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8" h="156">
                    <a:moveTo>
                      <a:pt x="148" y="134"/>
                    </a:moveTo>
                    <a:lnTo>
                      <a:pt x="86" y="146"/>
                    </a:lnTo>
                    <a:lnTo>
                      <a:pt x="20" y="156"/>
                    </a:lnTo>
                    <a:lnTo>
                      <a:pt x="0" y="20"/>
                    </a:lnTo>
                    <a:lnTo>
                      <a:pt x="128" y="0"/>
                    </a:lnTo>
                    <a:lnTo>
                      <a:pt x="148" y="134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2" name="Freeform 43">
                <a:extLst>
                  <a:ext uri="{FF2B5EF4-FFF2-40B4-BE49-F238E27FC236}">
                    <a16:creationId xmlns:a16="http://schemas.microsoft.com/office/drawing/2014/main" id="{45440494-6F80-4A88-A441-533DDD64C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2" y="1944"/>
                <a:ext cx="156" cy="204"/>
              </a:xfrm>
              <a:custGeom>
                <a:avLst/>
                <a:gdLst>
                  <a:gd name="T0" fmla="*/ 156 w 156"/>
                  <a:gd name="T1" fmla="*/ 184 h 204"/>
                  <a:gd name="T2" fmla="*/ 16 w 156"/>
                  <a:gd name="T3" fmla="*/ 204 h 204"/>
                  <a:gd name="T4" fmla="*/ 0 w 156"/>
                  <a:gd name="T5" fmla="*/ 102 h 204"/>
                  <a:gd name="T6" fmla="*/ 52 w 156"/>
                  <a:gd name="T7" fmla="*/ 92 h 204"/>
                  <a:gd name="T8" fmla="*/ 62 w 156"/>
                  <a:gd name="T9" fmla="*/ 86 h 204"/>
                  <a:gd name="T10" fmla="*/ 70 w 156"/>
                  <a:gd name="T11" fmla="*/ 20 h 204"/>
                  <a:gd name="T12" fmla="*/ 84 w 156"/>
                  <a:gd name="T13" fmla="*/ 0 h 204"/>
                  <a:gd name="T14" fmla="*/ 90 w 156"/>
                  <a:gd name="T15" fmla="*/ 16 h 204"/>
                  <a:gd name="T16" fmla="*/ 84 w 156"/>
                  <a:gd name="T17" fmla="*/ 64 h 204"/>
                  <a:gd name="T18" fmla="*/ 74 w 156"/>
                  <a:gd name="T19" fmla="*/ 92 h 204"/>
                  <a:gd name="T20" fmla="*/ 88 w 156"/>
                  <a:gd name="T21" fmla="*/ 96 h 204"/>
                  <a:gd name="T22" fmla="*/ 108 w 156"/>
                  <a:gd name="T23" fmla="*/ 52 h 204"/>
                  <a:gd name="T24" fmla="*/ 116 w 156"/>
                  <a:gd name="T25" fmla="*/ 52 h 204"/>
                  <a:gd name="T26" fmla="*/ 116 w 156"/>
                  <a:gd name="T27" fmla="*/ 70 h 204"/>
                  <a:gd name="T28" fmla="*/ 128 w 156"/>
                  <a:gd name="T29" fmla="*/ 64 h 204"/>
                  <a:gd name="T30" fmla="*/ 140 w 156"/>
                  <a:gd name="T31" fmla="*/ 76 h 204"/>
                  <a:gd name="T32" fmla="*/ 156 w 156"/>
                  <a:gd name="T33" fmla="*/ 184 h 2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6" h="204">
                    <a:moveTo>
                      <a:pt x="156" y="184"/>
                    </a:moveTo>
                    <a:lnTo>
                      <a:pt x="16" y="204"/>
                    </a:lnTo>
                    <a:lnTo>
                      <a:pt x="0" y="102"/>
                    </a:lnTo>
                    <a:lnTo>
                      <a:pt x="52" y="92"/>
                    </a:lnTo>
                    <a:lnTo>
                      <a:pt x="62" y="86"/>
                    </a:lnTo>
                    <a:lnTo>
                      <a:pt x="70" y="20"/>
                    </a:lnTo>
                    <a:lnTo>
                      <a:pt x="84" y="0"/>
                    </a:lnTo>
                    <a:lnTo>
                      <a:pt x="90" y="16"/>
                    </a:lnTo>
                    <a:lnTo>
                      <a:pt x="84" y="64"/>
                    </a:lnTo>
                    <a:lnTo>
                      <a:pt x="74" y="92"/>
                    </a:lnTo>
                    <a:lnTo>
                      <a:pt x="88" y="96"/>
                    </a:lnTo>
                    <a:lnTo>
                      <a:pt x="108" y="52"/>
                    </a:lnTo>
                    <a:lnTo>
                      <a:pt x="116" y="52"/>
                    </a:lnTo>
                    <a:lnTo>
                      <a:pt x="116" y="70"/>
                    </a:lnTo>
                    <a:lnTo>
                      <a:pt x="128" y="64"/>
                    </a:lnTo>
                    <a:lnTo>
                      <a:pt x="140" y="76"/>
                    </a:lnTo>
                    <a:lnTo>
                      <a:pt x="156" y="184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3" name="Freeform 44">
                <a:extLst>
                  <a:ext uri="{FF2B5EF4-FFF2-40B4-BE49-F238E27FC236}">
                    <a16:creationId xmlns:a16="http://schemas.microsoft.com/office/drawing/2014/main" id="{98F74D6C-9635-4274-AF18-C40CE36F6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1864"/>
                <a:ext cx="128" cy="190"/>
              </a:xfrm>
              <a:custGeom>
                <a:avLst/>
                <a:gdLst>
                  <a:gd name="T0" fmla="*/ 120 w 128"/>
                  <a:gd name="T1" fmla="*/ 172 h 190"/>
                  <a:gd name="T2" fmla="*/ 68 w 128"/>
                  <a:gd name="T3" fmla="*/ 182 h 190"/>
                  <a:gd name="T4" fmla="*/ 4 w 128"/>
                  <a:gd name="T5" fmla="*/ 190 h 190"/>
                  <a:gd name="T6" fmla="*/ 0 w 128"/>
                  <a:gd name="T7" fmla="*/ 140 h 190"/>
                  <a:gd name="T8" fmla="*/ 28 w 128"/>
                  <a:gd name="T9" fmla="*/ 116 h 190"/>
                  <a:gd name="T10" fmla="*/ 68 w 128"/>
                  <a:gd name="T11" fmla="*/ 110 h 190"/>
                  <a:gd name="T12" fmla="*/ 76 w 128"/>
                  <a:gd name="T13" fmla="*/ 76 h 190"/>
                  <a:gd name="T14" fmla="*/ 92 w 128"/>
                  <a:gd name="T15" fmla="*/ 60 h 190"/>
                  <a:gd name="T16" fmla="*/ 100 w 128"/>
                  <a:gd name="T17" fmla="*/ 32 h 190"/>
                  <a:gd name="T18" fmla="*/ 122 w 128"/>
                  <a:gd name="T19" fmla="*/ 0 h 190"/>
                  <a:gd name="T20" fmla="*/ 128 w 128"/>
                  <a:gd name="T21" fmla="*/ 28 h 190"/>
                  <a:gd name="T22" fmla="*/ 112 w 128"/>
                  <a:gd name="T23" fmla="*/ 40 h 190"/>
                  <a:gd name="T24" fmla="*/ 124 w 128"/>
                  <a:gd name="T25" fmla="*/ 70 h 190"/>
                  <a:gd name="T26" fmla="*/ 114 w 128"/>
                  <a:gd name="T27" fmla="*/ 92 h 190"/>
                  <a:gd name="T28" fmla="*/ 124 w 128"/>
                  <a:gd name="T29" fmla="*/ 104 h 190"/>
                  <a:gd name="T30" fmla="*/ 118 w 128"/>
                  <a:gd name="T31" fmla="*/ 136 h 190"/>
                  <a:gd name="T32" fmla="*/ 120 w 128"/>
                  <a:gd name="T33" fmla="*/ 172 h 19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28" h="190">
                    <a:moveTo>
                      <a:pt x="120" y="172"/>
                    </a:moveTo>
                    <a:lnTo>
                      <a:pt x="68" y="182"/>
                    </a:lnTo>
                    <a:lnTo>
                      <a:pt x="4" y="190"/>
                    </a:lnTo>
                    <a:lnTo>
                      <a:pt x="0" y="140"/>
                    </a:lnTo>
                    <a:lnTo>
                      <a:pt x="28" y="116"/>
                    </a:lnTo>
                    <a:lnTo>
                      <a:pt x="68" y="110"/>
                    </a:lnTo>
                    <a:lnTo>
                      <a:pt x="76" y="76"/>
                    </a:lnTo>
                    <a:lnTo>
                      <a:pt x="92" y="60"/>
                    </a:lnTo>
                    <a:lnTo>
                      <a:pt x="100" y="32"/>
                    </a:lnTo>
                    <a:lnTo>
                      <a:pt x="122" y="0"/>
                    </a:lnTo>
                    <a:lnTo>
                      <a:pt x="128" y="28"/>
                    </a:lnTo>
                    <a:lnTo>
                      <a:pt x="112" y="40"/>
                    </a:lnTo>
                    <a:lnTo>
                      <a:pt x="124" y="70"/>
                    </a:lnTo>
                    <a:lnTo>
                      <a:pt x="114" y="92"/>
                    </a:lnTo>
                    <a:lnTo>
                      <a:pt x="124" y="104"/>
                    </a:lnTo>
                    <a:lnTo>
                      <a:pt x="118" y="136"/>
                    </a:lnTo>
                    <a:lnTo>
                      <a:pt x="120" y="172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4" name="Freeform 45">
                <a:extLst>
                  <a:ext uri="{FF2B5EF4-FFF2-40B4-BE49-F238E27FC236}">
                    <a16:creationId xmlns:a16="http://schemas.microsoft.com/office/drawing/2014/main" id="{401AF7C9-F79E-46B7-9209-7A986E175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0" y="2046"/>
                <a:ext cx="128" cy="118"/>
              </a:xfrm>
              <a:custGeom>
                <a:avLst/>
                <a:gdLst>
                  <a:gd name="T0" fmla="*/ 128 w 128"/>
                  <a:gd name="T1" fmla="*/ 102 h 118"/>
                  <a:gd name="T2" fmla="*/ 18 w 128"/>
                  <a:gd name="T3" fmla="*/ 118 h 118"/>
                  <a:gd name="T4" fmla="*/ 16 w 128"/>
                  <a:gd name="T5" fmla="*/ 84 h 118"/>
                  <a:gd name="T6" fmla="*/ 0 w 128"/>
                  <a:gd name="T7" fmla="*/ 62 h 118"/>
                  <a:gd name="T8" fmla="*/ 16 w 128"/>
                  <a:gd name="T9" fmla="*/ 38 h 118"/>
                  <a:gd name="T10" fmla="*/ 48 w 128"/>
                  <a:gd name="T11" fmla="*/ 8 h 118"/>
                  <a:gd name="T12" fmla="*/ 112 w 128"/>
                  <a:gd name="T13" fmla="*/ 0 h 118"/>
                  <a:gd name="T14" fmla="*/ 128 w 128"/>
                  <a:gd name="T15" fmla="*/ 102 h 1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28" h="118">
                    <a:moveTo>
                      <a:pt x="128" y="102"/>
                    </a:moveTo>
                    <a:lnTo>
                      <a:pt x="18" y="118"/>
                    </a:lnTo>
                    <a:lnTo>
                      <a:pt x="16" y="84"/>
                    </a:lnTo>
                    <a:lnTo>
                      <a:pt x="0" y="62"/>
                    </a:lnTo>
                    <a:lnTo>
                      <a:pt x="16" y="38"/>
                    </a:lnTo>
                    <a:lnTo>
                      <a:pt x="48" y="8"/>
                    </a:lnTo>
                    <a:lnTo>
                      <a:pt x="112" y="0"/>
                    </a:lnTo>
                    <a:lnTo>
                      <a:pt x="128" y="102"/>
                    </a:lnTo>
                    <a:close/>
                  </a:path>
                </a:pathLst>
              </a:custGeom>
              <a:no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5" name="Freeform 46">
                <a:extLst>
                  <a:ext uri="{FF2B5EF4-FFF2-40B4-BE49-F238E27FC236}">
                    <a16:creationId xmlns:a16="http://schemas.microsoft.com/office/drawing/2014/main" id="{91A27517-01AF-4EE4-851E-38BDF4ED3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2128"/>
                <a:ext cx="160" cy="148"/>
              </a:xfrm>
              <a:custGeom>
                <a:avLst/>
                <a:gdLst>
                  <a:gd name="T0" fmla="*/ 160 w 160"/>
                  <a:gd name="T1" fmla="*/ 136 h 148"/>
                  <a:gd name="T2" fmla="*/ 92 w 160"/>
                  <a:gd name="T3" fmla="*/ 146 h 148"/>
                  <a:gd name="T4" fmla="*/ 20 w 160"/>
                  <a:gd name="T5" fmla="*/ 148 h 148"/>
                  <a:gd name="T6" fmla="*/ 0 w 160"/>
                  <a:gd name="T7" fmla="*/ 20 h 148"/>
                  <a:gd name="T8" fmla="*/ 140 w 160"/>
                  <a:gd name="T9" fmla="*/ 0 h 148"/>
                  <a:gd name="T10" fmla="*/ 160 w 160"/>
                  <a:gd name="T11" fmla="*/ 136 h 1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60" h="148">
                    <a:moveTo>
                      <a:pt x="160" y="136"/>
                    </a:moveTo>
                    <a:lnTo>
                      <a:pt x="92" y="146"/>
                    </a:lnTo>
                    <a:lnTo>
                      <a:pt x="20" y="148"/>
                    </a:lnTo>
                    <a:lnTo>
                      <a:pt x="0" y="20"/>
                    </a:lnTo>
                    <a:lnTo>
                      <a:pt x="140" y="0"/>
                    </a:lnTo>
                    <a:lnTo>
                      <a:pt x="160" y="136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6" name="Freeform 47">
                <a:extLst>
                  <a:ext uri="{FF2B5EF4-FFF2-40B4-BE49-F238E27FC236}">
                    <a16:creationId xmlns:a16="http://schemas.microsoft.com/office/drawing/2014/main" id="{913B6C45-1E00-4738-AE57-DC622E6B6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6" y="2148"/>
                <a:ext cx="152" cy="152"/>
              </a:xfrm>
              <a:custGeom>
                <a:avLst/>
                <a:gdLst>
                  <a:gd name="T0" fmla="*/ 152 w 152"/>
                  <a:gd name="T1" fmla="*/ 128 h 152"/>
                  <a:gd name="T2" fmla="*/ 88 w 152"/>
                  <a:gd name="T3" fmla="*/ 148 h 152"/>
                  <a:gd name="T4" fmla="*/ 0 w 152"/>
                  <a:gd name="T5" fmla="*/ 152 h 152"/>
                  <a:gd name="T6" fmla="*/ 8 w 152"/>
                  <a:gd name="T7" fmla="*/ 106 h 152"/>
                  <a:gd name="T8" fmla="*/ 24 w 152"/>
                  <a:gd name="T9" fmla="*/ 60 h 152"/>
                  <a:gd name="T10" fmla="*/ 22 w 152"/>
                  <a:gd name="T11" fmla="*/ 16 h 152"/>
                  <a:gd name="T12" fmla="*/ 132 w 152"/>
                  <a:gd name="T13" fmla="*/ 0 h 152"/>
                  <a:gd name="T14" fmla="*/ 152 w 152"/>
                  <a:gd name="T15" fmla="*/ 128 h 1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2" h="152">
                    <a:moveTo>
                      <a:pt x="152" y="128"/>
                    </a:moveTo>
                    <a:lnTo>
                      <a:pt x="88" y="148"/>
                    </a:lnTo>
                    <a:lnTo>
                      <a:pt x="0" y="152"/>
                    </a:lnTo>
                    <a:lnTo>
                      <a:pt x="8" y="106"/>
                    </a:lnTo>
                    <a:lnTo>
                      <a:pt x="24" y="60"/>
                    </a:lnTo>
                    <a:lnTo>
                      <a:pt x="22" y="16"/>
                    </a:lnTo>
                    <a:lnTo>
                      <a:pt x="132" y="0"/>
                    </a:lnTo>
                    <a:lnTo>
                      <a:pt x="152" y="128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7" name="Freeform 48">
                <a:extLst>
                  <a:ext uri="{FF2B5EF4-FFF2-40B4-BE49-F238E27FC236}">
                    <a16:creationId xmlns:a16="http://schemas.microsoft.com/office/drawing/2014/main" id="{64CCF2AA-8FF0-402C-BEBB-F56714FF8F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2296"/>
                <a:ext cx="138" cy="150"/>
              </a:xfrm>
              <a:custGeom>
                <a:avLst/>
                <a:gdLst>
                  <a:gd name="T0" fmla="*/ 138 w 138"/>
                  <a:gd name="T1" fmla="*/ 132 h 150"/>
                  <a:gd name="T2" fmla="*/ 38 w 138"/>
                  <a:gd name="T3" fmla="*/ 150 h 150"/>
                  <a:gd name="T4" fmla="*/ 28 w 138"/>
                  <a:gd name="T5" fmla="*/ 124 h 150"/>
                  <a:gd name="T6" fmla="*/ 24 w 138"/>
                  <a:gd name="T7" fmla="*/ 92 h 150"/>
                  <a:gd name="T8" fmla="*/ 0 w 138"/>
                  <a:gd name="T9" fmla="*/ 68 h 150"/>
                  <a:gd name="T10" fmla="*/ 6 w 138"/>
                  <a:gd name="T11" fmla="*/ 40 h 150"/>
                  <a:gd name="T12" fmla="*/ 30 w 138"/>
                  <a:gd name="T13" fmla="*/ 4 h 150"/>
                  <a:gd name="T14" fmla="*/ 118 w 138"/>
                  <a:gd name="T15" fmla="*/ 0 h 150"/>
                  <a:gd name="T16" fmla="*/ 138 w 138"/>
                  <a:gd name="T17" fmla="*/ 132 h 15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8" h="150">
                    <a:moveTo>
                      <a:pt x="138" y="132"/>
                    </a:moveTo>
                    <a:lnTo>
                      <a:pt x="38" y="150"/>
                    </a:lnTo>
                    <a:lnTo>
                      <a:pt x="28" y="124"/>
                    </a:lnTo>
                    <a:lnTo>
                      <a:pt x="24" y="92"/>
                    </a:lnTo>
                    <a:lnTo>
                      <a:pt x="0" y="68"/>
                    </a:lnTo>
                    <a:lnTo>
                      <a:pt x="6" y="40"/>
                    </a:lnTo>
                    <a:lnTo>
                      <a:pt x="30" y="4"/>
                    </a:lnTo>
                    <a:lnTo>
                      <a:pt x="118" y="0"/>
                    </a:lnTo>
                    <a:lnTo>
                      <a:pt x="138" y="132"/>
                    </a:lnTo>
                    <a:close/>
                  </a:path>
                </a:pathLst>
              </a:custGeom>
              <a:no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8" name="Freeform 49">
                <a:extLst>
                  <a:ext uri="{FF2B5EF4-FFF2-40B4-BE49-F238E27FC236}">
                    <a16:creationId xmlns:a16="http://schemas.microsoft.com/office/drawing/2014/main" id="{33394A7C-66BD-4B46-B310-36E4A450A7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4" y="2274"/>
                <a:ext cx="156" cy="154"/>
              </a:xfrm>
              <a:custGeom>
                <a:avLst/>
                <a:gdLst>
                  <a:gd name="T0" fmla="*/ 156 w 156"/>
                  <a:gd name="T1" fmla="*/ 134 h 154"/>
                  <a:gd name="T2" fmla="*/ 20 w 156"/>
                  <a:gd name="T3" fmla="*/ 154 h 154"/>
                  <a:gd name="T4" fmla="*/ 0 w 156"/>
                  <a:gd name="T5" fmla="*/ 22 h 154"/>
                  <a:gd name="T6" fmla="*/ 64 w 156"/>
                  <a:gd name="T7" fmla="*/ 2 h 154"/>
                  <a:gd name="T8" fmla="*/ 136 w 156"/>
                  <a:gd name="T9" fmla="*/ 0 h 154"/>
                  <a:gd name="T10" fmla="*/ 156 w 156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4">
                    <a:moveTo>
                      <a:pt x="156" y="134"/>
                    </a:moveTo>
                    <a:lnTo>
                      <a:pt x="20" y="154"/>
                    </a:lnTo>
                    <a:lnTo>
                      <a:pt x="0" y="22"/>
                    </a:lnTo>
                    <a:lnTo>
                      <a:pt x="64" y="2"/>
                    </a:lnTo>
                    <a:lnTo>
                      <a:pt x="136" y="0"/>
                    </a:lnTo>
                    <a:lnTo>
                      <a:pt x="156" y="134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9" name="Freeform 50">
                <a:extLst>
                  <a:ext uri="{FF2B5EF4-FFF2-40B4-BE49-F238E27FC236}">
                    <a16:creationId xmlns:a16="http://schemas.microsoft.com/office/drawing/2014/main" id="{57F4F875-A22B-4385-93D1-DFD7F9EFA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0" y="2254"/>
                <a:ext cx="154" cy="154"/>
              </a:xfrm>
              <a:custGeom>
                <a:avLst/>
                <a:gdLst>
                  <a:gd name="T0" fmla="*/ 154 w 154"/>
                  <a:gd name="T1" fmla="*/ 134 h 154"/>
                  <a:gd name="T2" fmla="*/ 20 w 154"/>
                  <a:gd name="T3" fmla="*/ 154 h 154"/>
                  <a:gd name="T4" fmla="*/ 0 w 154"/>
                  <a:gd name="T5" fmla="*/ 20 h 154"/>
                  <a:gd name="T6" fmla="*/ 68 w 154"/>
                  <a:gd name="T7" fmla="*/ 10 h 154"/>
                  <a:gd name="T8" fmla="*/ 134 w 154"/>
                  <a:gd name="T9" fmla="*/ 0 h 154"/>
                  <a:gd name="T10" fmla="*/ 154 w 154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54">
                    <a:moveTo>
                      <a:pt x="154" y="134"/>
                    </a:moveTo>
                    <a:lnTo>
                      <a:pt x="20" y="154"/>
                    </a:lnTo>
                    <a:lnTo>
                      <a:pt x="0" y="20"/>
                    </a:lnTo>
                    <a:lnTo>
                      <a:pt x="68" y="10"/>
                    </a:lnTo>
                    <a:lnTo>
                      <a:pt x="134" y="0"/>
                    </a:lnTo>
                    <a:lnTo>
                      <a:pt x="154" y="134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0" name="Freeform 51">
                <a:extLst>
                  <a:ext uri="{FF2B5EF4-FFF2-40B4-BE49-F238E27FC236}">
                    <a16:creationId xmlns:a16="http://schemas.microsoft.com/office/drawing/2014/main" id="{8097CCFD-B7C3-4CA9-B21A-45970B69F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4" y="2232"/>
                <a:ext cx="150" cy="156"/>
              </a:xfrm>
              <a:custGeom>
                <a:avLst/>
                <a:gdLst>
                  <a:gd name="T0" fmla="*/ 150 w 150"/>
                  <a:gd name="T1" fmla="*/ 136 h 156"/>
                  <a:gd name="T2" fmla="*/ 20 w 150"/>
                  <a:gd name="T3" fmla="*/ 156 h 156"/>
                  <a:gd name="T4" fmla="*/ 0 w 150"/>
                  <a:gd name="T5" fmla="*/ 22 h 156"/>
                  <a:gd name="T6" fmla="*/ 62 w 150"/>
                  <a:gd name="T7" fmla="*/ 10 h 156"/>
                  <a:gd name="T8" fmla="*/ 134 w 150"/>
                  <a:gd name="T9" fmla="*/ 0 h 156"/>
                  <a:gd name="T10" fmla="*/ 150 w 150"/>
                  <a:gd name="T11" fmla="*/ 13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0" h="156">
                    <a:moveTo>
                      <a:pt x="150" y="136"/>
                    </a:moveTo>
                    <a:lnTo>
                      <a:pt x="20" y="156"/>
                    </a:lnTo>
                    <a:lnTo>
                      <a:pt x="0" y="22"/>
                    </a:lnTo>
                    <a:lnTo>
                      <a:pt x="62" y="10"/>
                    </a:lnTo>
                    <a:lnTo>
                      <a:pt x="134" y="0"/>
                    </a:lnTo>
                    <a:lnTo>
                      <a:pt x="150" y="136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1" name="Freeform 52">
                <a:extLst>
                  <a:ext uri="{FF2B5EF4-FFF2-40B4-BE49-F238E27FC236}">
                    <a16:creationId xmlns:a16="http://schemas.microsoft.com/office/drawing/2014/main" id="{8547AFC3-3844-48EE-BD43-A31766C6B8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0" y="2428"/>
                <a:ext cx="150" cy="152"/>
              </a:xfrm>
              <a:custGeom>
                <a:avLst/>
                <a:gdLst>
                  <a:gd name="T0" fmla="*/ 150 w 150"/>
                  <a:gd name="T1" fmla="*/ 136 h 152"/>
                  <a:gd name="T2" fmla="*/ 36 w 150"/>
                  <a:gd name="T3" fmla="*/ 152 h 152"/>
                  <a:gd name="T4" fmla="*/ 34 w 150"/>
                  <a:gd name="T5" fmla="*/ 134 h 152"/>
                  <a:gd name="T6" fmla="*/ 0 w 150"/>
                  <a:gd name="T7" fmla="*/ 86 h 152"/>
                  <a:gd name="T8" fmla="*/ 20 w 150"/>
                  <a:gd name="T9" fmla="*/ 46 h 152"/>
                  <a:gd name="T10" fmla="*/ 24 w 150"/>
                  <a:gd name="T11" fmla="*/ 18 h 152"/>
                  <a:gd name="T12" fmla="*/ 124 w 150"/>
                  <a:gd name="T13" fmla="*/ 0 h 152"/>
                  <a:gd name="T14" fmla="*/ 150 w 150"/>
                  <a:gd name="T15" fmla="*/ 136 h 1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50" h="152">
                    <a:moveTo>
                      <a:pt x="150" y="136"/>
                    </a:moveTo>
                    <a:lnTo>
                      <a:pt x="36" y="152"/>
                    </a:lnTo>
                    <a:lnTo>
                      <a:pt x="34" y="134"/>
                    </a:lnTo>
                    <a:lnTo>
                      <a:pt x="0" y="86"/>
                    </a:lnTo>
                    <a:lnTo>
                      <a:pt x="20" y="46"/>
                    </a:lnTo>
                    <a:lnTo>
                      <a:pt x="24" y="18"/>
                    </a:lnTo>
                    <a:lnTo>
                      <a:pt x="124" y="0"/>
                    </a:lnTo>
                    <a:lnTo>
                      <a:pt x="150" y="136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2" name="Freeform 53">
                <a:extLst>
                  <a:ext uri="{FF2B5EF4-FFF2-40B4-BE49-F238E27FC236}">
                    <a16:creationId xmlns:a16="http://schemas.microsoft.com/office/drawing/2014/main" id="{BFE74303-E6B7-44FB-97E0-48BC70ED5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2" y="2564"/>
                <a:ext cx="204" cy="144"/>
              </a:xfrm>
              <a:custGeom>
                <a:avLst/>
                <a:gdLst>
                  <a:gd name="T0" fmla="*/ 4 w 204"/>
                  <a:gd name="T1" fmla="*/ 16 h 144"/>
                  <a:gd name="T2" fmla="*/ 118 w 204"/>
                  <a:gd name="T3" fmla="*/ 0 h 144"/>
                  <a:gd name="T4" fmla="*/ 122 w 204"/>
                  <a:gd name="T5" fmla="*/ 66 h 144"/>
                  <a:gd name="T6" fmla="*/ 196 w 204"/>
                  <a:gd name="T7" fmla="*/ 56 h 144"/>
                  <a:gd name="T8" fmla="*/ 204 w 204"/>
                  <a:gd name="T9" fmla="*/ 96 h 144"/>
                  <a:gd name="T10" fmla="*/ 170 w 204"/>
                  <a:gd name="T11" fmla="*/ 100 h 144"/>
                  <a:gd name="T12" fmla="*/ 174 w 204"/>
                  <a:gd name="T13" fmla="*/ 116 h 144"/>
                  <a:gd name="T14" fmla="*/ 176 w 204"/>
                  <a:gd name="T15" fmla="*/ 126 h 144"/>
                  <a:gd name="T16" fmla="*/ 174 w 204"/>
                  <a:gd name="T17" fmla="*/ 130 h 144"/>
                  <a:gd name="T18" fmla="*/ 174 w 204"/>
                  <a:gd name="T19" fmla="*/ 132 h 144"/>
                  <a:gd name="T20" fmla="*/ 82 w 204"/>
                  <a:gd name="T21" fmla="*/ 144 h 144"/>
                  <a:gd name="T22" fmla="*/ 0 w 204"/>
                  <a:gd name="T23" fmla="*/ 28 h 144"/>
                  <a:gd name="T24" fmla="*/ 4 w 204"/>
                  <a:gd name="T25" fmla="*/ 16 h 1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4" h="144">
                    <a:moveTo>
                      <a:pt x="4" y="16"/>
                    </a:moveTo>
                    <a:lnTo>
                      <a:pt x="118" y="0"/>
                    </a:lnTo>
                    <a:lnTo>
                      <a:pt x="122" y="66"/>
                    </a:lnTo>
                    <a:lnTo>
                      <a:pt x="196" y="56"/>
                    </a:lnTo>
                    <a:lnTo>
                      <a:pt x="204" y="96"/>
                    </a:lnTo>
                    <a:lnTo>
                      <a:pt x="170" y="100"/>
                    </a:lnTo>
                    <a:lnTo>
                      <a:pt x="174" y="116"/>
                    </a:lnTo>
                    <a:lnTo>
                      <a:pt x="176" y="126"/>
                    </a:lnTo>
                    <a:lnTo>
                      <a:pt x="174" y="130"/>
                    </a:lnTo>
                    <a:lnTo>
                      <a:pt x="174" y="132"/>
                    </a:lnTo>
                    <a:lnTo>
                      <a:pt x="82" y="144"/>
                    </a:lnTo>
                    <a:lnTo>
                      <a:pt x="0" y="28"/>
                    </a:lnTo>
                    <a:lnTo>
                      <a:pt x="4" y="16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3" name="Freeform 54">
                <a:extLst>
                  <a:ext uri="{FF2B5EF4-FFF2-40B4-BE49-F238E27FC236}">
                    <a16:creationId xmlns:a16="http://schemas.microsoft.com/office/drawing/2014/main" id="{68D25779-83A8-45DF-A54F-21236BD3E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4" y="2660"/>
                <a:ext cx="152" cy="180"/>
              </a:xfrm>
              <a:custGeom>
                <a:avLst/>
                <a:gdLst>
                  <a:gd name="T0" fmla="*/ 0 w 152"/>
                  <a:gd name="T1" fmla="*/ 48 h 180"/>
                  <a:gd name="T2" fmla="*/ 16 w 152"/>
                  <a:gd name="T3" fmla="*/ 48 h 180"/>
                  <a:gd name="T4" fmla="*/ 48 w 152"/>
                  <a:gd name="T5" fmla="*/ 42 h 180"/>
                  <a:gd name="T6" fmla="*/ 92 w 152"/>
                  <a:gd name="T7" fmla="*/ 36 h 180"/>
                  <a:gd name="T8" fmla="*/ 88 w 152"/>
                  <a:gd name="T9" fmla="*/ 4 h 180"/>
                  <a:gd name="T10" fmla="*/ 122 w 152"/>
                  <a:gd name="T11" fmla="*/ 0 h 180"/>
                  <a:gd name="T12" fmla="*/ 152 w 152"/>
                  <a:gd name="T13" fmla="*/ 164 h 180"/>
                  <a:gd name="T14" fmla="*/ 32 w 152"/>
                  <a:gd name="T15" fmla="*/ 180 h 180"/>
                  <a:gd name="T16" fmla="*/ 22 w 152"/>
                  <a:gd name="T17" fmla="*/ 150 h 180"/>
                  <a:gd name="T18" fmla="*/ 22 w 152"/>
                  <a:gd name="T19" fmla="*/ 116 h 180"/>
                  <a:gd name="T20" fmla="*/ 0 w 152"/>
                  <a:gd name="T21" fmla="*/ 48 h 18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2" h="180">
                    <a:moveTo>
                      <a:pt x="0" y="48"/>
                    </a:moveTo>
                    <a:lnTo>
                      <a:pt x="16" y="48"/>
                    </a:lnTo>
                    <a:lnTo>
                      <a:pt x="48" y="42"/>
                    </a:lnTo>
                    <a:lnTo>
                      <a:pt x="92" y="36"/>
                    </a:lnTo>
                    <a:lnTo>
                      <a:pt x="88" y="4"/>
                    </a:lnTo>
                    <a:lnTo>
                      <a:pt x="122" y="0"/>
                    </a:lnTo>
                    <a:lnTo>
                      <a:pt x="152" y="164"/>
                    </a:lnTo>
                    <a:lnTo>
                      <a:pt x="32" y="180"/>
                    </a:lnTo>
                    <a:lnTo>
                      <a:pt x="22" y="150"/>
                    </a:lnTo>
                    <a:lnTo>
                      <a:pt x="22" y="116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4" name="Freeform 55">
                <a:extLst>
                  <a:ext uri="{FF2B5EF4-FFF2-40B4-BE49-F238E27FC236}">
                    <a16:creationId xmlns:a16="http://schemas.microsoft.com/office/drawing/2014/main" id="{BF07B163-7E6C-4FF9-8029-F8F795E25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4" y="2408"/>
                <a:ext cx="168" cy="222"/>
              </a:xfrm>
              <a:custGeom>
                <a:avLst/>
                <a:gdLst>
                  <a:gd name="T0" fmla="*/ 0 w 168"/>
                  <a:gd name="T1" fmla="*/ 20 h 222"/>
                  <a:gd name="T2" fmla="*/ 136 w 168"/>
                  <a:gd name="T3" fmla="*/ 0 h 222"/>
                  <a:gd name="T4" fmla="*/ 156 w 168"/>
                  <a:gd name="T5" fmla="*/ 138 h 222"/>
                  <a:gd name="T6" fmla="*/ 168 w 168"/>
                  <a:gd name="T7" fmla="*/ 200 h 222"/>
                  <a:gd name="T8" fmla="*/ 104 w 168"/>
                  <a:gd name="T9" fmla="*/ 212 h 222"/>
                  <a:gd name="T10" fmla="*/ 30 w 168"/>
                  <a:gd name="T11" fmla="*/ 222 h 222"/>
                  <a:gd name="T12" fmla="*/ 26 w 168"/>
                  <a:gd name="T13" fmla="*/ 156 h 222"/>
                  <a:gd name="T14" fmla="*/ 0 w 168"/>
                  <a:gd name="T15" fmla="*/ 20 h 2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68" h="222">
                    <a:moveTo>
                      <a:pt x="0" y="20"/>
                    </a:moveTo>
                    <a:lnTo>
                      <a:pt x="136" y="0"/>
                    </a:lnTo>
                    <a:lnTo>
                      <a:pt x="156" y="138"/>
                    </a:lnTo>
                    <a:lnTo>
                      <a:pt x="168" y="200"/>
                    </a:lnTo>
                    <a:lnTo>
                      <a:pt x="104" y="212"/>
                    </a:lnTo>
                    <a:lnTo>
                      <a:pt x="30" y="222"/>
                    </a:lnTo>
                    <a:lnTo>
                      <a:pt x="26" y="156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5" name="Freeform 56">
                <a:extLst>
                  <a:ext uri="{FF2B5EF4-FFF2-40B4-BE49-F238E27FC236}">
                    <a16:creationId xmlns:a16="http://schemas.microsoft.com/office/drawing/2014/main" id="{09BA4F8B-1CFD-40E6-9BA8-174092951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0" y="2388"/>
                <a:ext cx="156" cy="158"/>
              </a:xfrm>
              <a:custGeom>
                <a:avLst/>
                <a:gdLst>
                  <a:gd name="T0" fmla="*/ 0 w 156"/>
                  <a:gd name="T1" fmla="*/ 20 h 158"/>
                  <a:gd name="T2" fmla="*/ 134 w 156"/>
                  <a:gd name="T3" fmla="*/ 0 h 158"/>
                  <a:gd name="T4" fmla="*/ 156 w 156"/>
                  <a:gd name="T5" fmla="*/ 136 h 158"/>
                  <a:gd name="T6" fmla="*/ 20 w 156"/>
                  <a:gd name="T7" fmla="*/ 158 h 158"/>
                  <a:gd name="T8" fmla="*/ 0 w 156"/>
                  <a:gd name="T9" fmla="*/ 20 h 1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6" h="158">
                    <a:moveTo>
                      <a:pt x="0" y="20"/>
                    </a:moveTo>
                    <a:lnTo>
                      <a:pt x="134" y="0"/>
                    </a:lnTo>
                    <a:lnTo>
                      <a:pt x="156" y="136"/>
                    </a:lnTo>
                    <a:lnTo>
                      <a:pt x="20" y="158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6" name="Freeform 57">
                <a:extLst>
                  <a:ext uri="{FF2B5EF4-FFF2-40B4-BE49-F238E27FC236}">
                    <a16:creationId xmlns:a16="http://schemas.microsoft.com/office/drawing/2014/main" id="{DB046350-33A0-45E9-AF9E-A6948A15B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2210"/>
                <a:ext cx="140" cy="158"/>
              </a:xfrm>
              <a:custGeom>
                <a:avLst/>
                <a:gdLst>
                  <a:gd name="T0" fmla="*/ 0 w 140"/>
                  <a:gd name="T1" fmla="*/ 22 h 158"/>
                  <a:gd name="T2" fmla="*/ 68 w 140"/>
                  <a:gd name="T3" fmla="*/ 10 h 158"/>
                  <a:gd name="T4" fmla="*/ 124 w 140"/>
                  <a:gd name="T5" fmla="*/ 0 h 158"/>
                  <a:gd name="T6" fmla="*/ 136 w 140"/>
                  <a:gd name="T7" fmla="*/ 66 h 158"/>
                  <a:gd name="T8" fmla="*/ 140 w 140"/>
                  <a:gd name="T9" fmla="*/ 130 h 158"/>
                  <a:gd name="T10" fmla="*/ 84 w 140"/>
                  <a:gd name="T11" fmla="*/ 140 h 158"/>
                  <a:gd name="T12" fmla="*/ 88 w 140"/>
                  <a:gd name="T13" fmla="*/ 146 h 158"/>
                  <a:gd name="T14" fmla="*/ 16 w 140"/>
                  <a:gd name="T15" fmla="*/ 158 h 158"/>
                  <a:gd name="T16" fmla="*/ 0 w 140"/>
                  <a:gd name="T17" fmla="*/ 22 h 15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40" h="158">
                    <a:moveTo>
                      <a:pt x="0" y="22"/>
                    </a:moveTo>
                    <a:lnTo>
                      <a:pt x="68" y="10"/>
                    </a:lnTo>
                    <a:lnTo>
                      <a:pt x="124" y="0"/>
                    </a:lnTo>
                    <a:lnTo>
                      <a:pt x="136" y="66"/>
                    </a:lnTo>
                    <a:lnTo>
                      <a:pt x="140" y="130"/>
                    </a:lnTo>
                    <a:lnTo>
                      <a:pt x="84" y="140"/>
                    </a:lnTo>
                    <a:lnTo>
                      <a:pt x="88" y="146"/>
                    </a:lnTo>
                    <a:lnTo>
                      <a:pt x="16" y="158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7" name="Freeform 58">
                <a:extLst>
                  <a:ext uri="{FF2B5EF4-FFF2-40B4-BE49-F238E27FC236}">
                    <a16:creationId xmlns:a16="http://schemas.microsoft.com/office/drawing/2014/main" id="{66C1967C-CF75-4E1D-AA79-0213148AEC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4" y="2340"/>
                <a:ext cx="148" cy="164"/>
              </a:xfrm>
              <a:custGeom>
                <a:avLst/>
                <a:gdLst>
                  <a:gd name="T0" fmla="*/ 0 w 148"/>
                  <a:gd name="T1" fmla="*/ 28 h 164"/>
                  <a:gd name="T2" fmla="*/ 72 w 148"/>
                  <a:gd name="T3" fmla="*/ 16 h 164"/>
                  <a:gd name="T4" fmla="*/ 68 w 148"/>
                  <a:gd name="T5" fmla="*/ 10 h 164"/>
                  <a:gd name="T6" fmla="*/ 124 w 148"/>
                  <a:gd name="T7" fmla="*/ 0 h 164"/>
                  <a:gd name="T8" fmla="*/ 142 w 148"/>
                  <a:gd name="T9" fmla="*/ 106 h 164"/>
                  <a:gd name="T10" fmla="*/ 148 w 148"/>
                  <a:gd name="T11" fmla="*/ 134 h 164"/>
                  <a:gd name="T12" fmla="*/ 92 w 148"/>
                  <a:gd name="T13" fmla="*/ 146 h 164"/>
                  <a:gd name="T14" fmla="*/ 94 w 148"/>
                  <a:gd name="T15" fmla="*/ 152 h 164"/>
                  <a:gd name="T16" fmla="*/ 20 w 148"/>
                  <a:gd name="T17" fmla="*/ 164 h 164"/>
                  <a:gd name="T18" fmla="*/ 0 w 148"/>
                  <a:gd name="T19" fmla="*/ 28 h 16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48" h="164">
                    <a:moveTo>
                      <a:pt x="0" y="28"/>
                    </a:moveTo>
                    <a:lnTo>
                      <a:pt x="72" y="16"/>
                    </a:lnTo>
                    <a:lnTo>
                      <a:pt x="68" y="10"/>
                    </a:lnTo>
                    <a:lnTo>
                      <a:pt x="124" y="0"/>
                    </a:lnTo>
                    <a:lnTo>
                      <a:pt x="142" y="106"/>
                    </a:lnTo>
                    <a:lnTo>
                      <a:pt x="148" y="134"/>
                    </a:lnTo>
                    <a:lnTo>
                      <a:pt x="92" y="146"/>
                    </a:lnTo>
                    <a:lnTo>
                      <a:pt x="94" y="152"/>
                    </a:lnTo>
                    <a:lnTo>
                      <a:pt x="20" y="164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8" name="Freeform 59">
                <a:extLst>
                  <a:ext uri="{FF2B5EF4-FFF2-40B4-BE49-F238E27FC236}">
                    <a16:creationId xmlns:a16="http://schemas.microsoft.com/office/drawing/2014/main" id="{AD60956D-BE32-4A5C-858B-77D6E333E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2368"/>
                <a:ext cx="150" cy="156"/>
              </a:xfrm>
              <a:custGeom>
                <a:avLst/>
                <a:gdLst>
                  <a:gd name="T0" fmla="*/ 0 w 150"/>
                  <a:gd name="T1" fmla="*/ 20 h 156"/>
                  <a:gd name="T2" fmla="*/ 130 w 150"/>
                  <a:gd name="T3" fmla="*/ 0 h 156"/>
                  <a:gd name="T4" fmla="*/ 150 w 150"/>
                  <a:gd name="T5" fmla="*/ 136 h 156"/>
                  <a:gd name="T6" fmla="*/ 86 w 150"/>
                  <a:gd name="T7" fmla="*/ 148 h 156"/>
                  <a:gd name="T8" fmla="*/ 22 w 150"/>
                  <a:gd name="T9" fmla="*/ 156 h 156"/>
                  <a:gd name="T10" fmla="*/ 0 w 150"/>
                  <a:gd name="T11" fmla="*/ 20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0" h="156">
                    <a:moveTo>
                      <a:pt x="0" y="20"/>
                    </a:moveTo>
                    <a:lnTo>
                      <a:pt x="130" y="0"/>
                    </a:lnTo>
                    <a:lnTo>
                      <a:pt x="150" y="136"/>
                    </a:lnTo>
                    <a:lnTo>
                      <a:pt x="86" y="148"/>
                    </a:lnTo>
                    <a:lnTo>
                      <a:pt x="22" y="156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9" name="Freeform 60">
                <a:extLst>
                  <a:ext uri="{FF2B5EF4-FFF2-40B4-BE49-F238E27FC236}">
                    <a16:creationId xmlns:a16="http://schemas.microsoft.com/office/drawing/2014/main" id="{01735075-9C72-4B2C-B229-E9EF3CAEF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2492"/>
                <a:ext cx="160" cy="156"/>
              </a:xfrm>
              <a:custGeom>
                <a:avLst/>
                <a:gdLst>
                  <a:gd name="T0" fmla="*/ 0 w 160"/>
                  <a:gd name="T1" fmla="*/ 24 h 156"/>
                  <a:gd name="T2" fmla="*/ 64 w 160"/>
                  <a:gd name="T3" fmla="*/ 12 h 156"/>
                  <a:gd name="T4" fmla="*/ 138 w 160"/>
                  <a:gd name="T5" fmla="*/ 0 h 156"/>
                  <a:gd name="T6" fmla="*/ 160 w 160"/>
                  <a:gd name="T7" fmla="*/ 130 h 156"/>
                  <a:gd name="T8" fmla="*/ 28 w 160"/>
                  <a:gd name="T9" fmla="*/ 156 h 156"/>
                  <a:gd name="T10" fmla="*/ 18 w 160"/>
                  <a:gd name="T11" fmla="*/ 86 h 156"/>
                  <a:gd name="T12" fmla="*/ 12 w 160"/>
                  <a:gd name="T13" fmla="*/ 86 h 156"/>
                  <a:gd name="T14" fmla="*/ 0 w 160"/>
                  <a:gd name="T15" fmla="*/ 24 h 15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60" h="156">
                    <a:moveTo>
                      <a:pt x="0" y="24"/>
                    </a:moveTo>
                    <a:lnTo>
                      <a:pt x="64" y="12"/>
                    </a:lnTo>
                    <a:lnTo>
                      <a:pt x="138" y="0"/>
                    </a:lnTo>
                    <a:lnTo>
                      <a:pt x="160" y="130"/>
                    </a:lnTo>
                    <a:lnTo>
                      <a:pt x="28" y="156"/>
                    </a:lnTo>
                    <a:lnTo>
                      <a:pt x="18" y="86"/>
                    </a:lnTo>
                    <a:lnTo>
                      <a:pt x="12" y="86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0" name="Freeform 61">
                <a:extLst>
                  <a:ext uri="{FF2B5EF4-FFF2-40B4-BE49-F238E27FC236}">
                    <a16:creationId xmlns:a16="http://schemas.microsoft.com/office/drawing/2014/main" id="{99D07C3F-ACF7-4196-ABFF-19DD099F0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0" y="2516"/>
                <a:ext cx="228" cy="152"/>
              </a:xfrm>
              <a:custGeom>
                <a:avLst/>
                <a:gdLst>
                  <a:gd name="T0" fmla="*/ 0 w 228"/>
                  <a:gd name="T1" fmla="*/ 30 h 152"/>
                  <a:gd name="T2" fmla="*/ 136 w 228"/>
                  <a:gd name="T3" fmla="*/ 8 h 152"/>
                  <a:gd name="T4" fmla="*/ 200 w 228"/>
                  <a:gd name="T5" fmla="*/ 0 h 152"/>
                  <a:gd name="T6" fmla="*/ 212 w 228"/>
                  <a:gd name="T7" fmla="*/ 62 h 152"/>
                  <a:gd name="T8" fmla="*/ 218 w 228"/>
                  <a:gd name="T9" fmla="*/ 62 h 152"/>
                  <a:gd name="T10" fmla="*/ 228 w 228"/>
                  <a:gd name="T11" fmla="*/ 132 h 152"/>
                  <a:gd name="T12" fmla="*/ 92 w 228"/>
                  <a:gd name="T13" fmla="*/ 152 h 152"/>
                  <a:gd name="T14" fmla="*/ 80 w 228"/>
                  <a:gd name="T15" fmla="*/ 82 h 152"/>
                  <a:gd name="T16" fmla="*/ 12 w 228"/>
                  <a:gd name="T17" fmla="*/ 92 h 152"/>
                  <a:gd name="T18" fmla="*/ 0 w 228"/>
                  <a:gd name="T19" fmla="*/ 30 h 15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8" h="152">
                    <a:moveTo>
                      <a:pt x="0" y="30"/>
                    </a:moveTo>
                    <a:lnTo>
                      <a:pt x="136" y="8"/>
                    </a:lnTo>
                    <a:lnTo>
                      <a:pt x="200" y="0"/>
                    </a:lnTo>
                    <a:lnTo>
                      <a:pt x="212" y="62"/>
                    </a:lnTo>
                    <a:lnTo>
                      <a:pt x="218" y="62"/>
                    </a:lnTo>
                    <a:lnTo>
                      <a:pt x="228" y="132"/>
                    </a:lnTo>
                    <a:lnTo>
                      <a:pt x="92" y="152"/>
                    </a:lnTo>
                    <a:lnTo>
                      <a:pt x="80" y="82"/>
                    </a:lnTo>
                    <a:lnTo>
                      <a:pt x="12" y="92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1" name="Freeform 62">
                <a:extLst>
                  <a:ext uri="{FF2B5EF4-FFF2-40B4-BE49-F238E27FC236}">
                    <a16:creationId xmlns:a16="http://schemas.microsoft.com/office/drawing/2014/main" id="{0473F0BD-1EDF-4A24-8860-55FEC568B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0" y="2600"/>
                <a:ext cx="148" cy="156"/>
              </a:xfrm>
              <a:custGeom>
                <a:avLst/>
                <a:gdLst>
                  <a:gd name="T0" fmla="*/ 80 w 148"/>
                  <a:gd name="T1" fmla="*/ 146 h 156"/>
                  <a:gd name="T2" fmla="*/ 24 w 148"/>
                  <a:gd name="T3" fmla="*/ 156 h 156"/>
                  <a:gd name="T4" fmla="*/ 0 w 148"/>
                  <a:gd name="T5" fmla="*/ 22 h 156"/>
                  <a:gd name="T6" fmla="*/ 120 w 148"/>
                  <a:gd name="T7" fmla="*/ 0 h 156"/>
                  <a:gd name="T8" fmla="*/ 148 w 148"/>
                  <a:gd name="T9" fmla="*/ 134 h 156"/>
                  <a:gd name="T10" fmla="*/ 80 w 148"/>
                  <a:gd name="T11" fmla="*/ 146 h 1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8" h="156">
                    <a:moveTo>
                      <a:pt x="80" y="146"/>
                    </a:moveTo>
                    <a:lnTo>
                      <a:pt x="24" y="156"/>
                    </a:lnTo>
                    <a:lnTo>
                      <a:pt x="0" y="22"/>
                    </a:lnTo>
                    <a:lnTo>
                      <a:pt x="120" y="0"/>
                    </a:lnTo>
                    <a:lnTo>
                      <a:pt x="148" y="134"/>
                    </a:lnTo>
                    <a:lnTo>
                      <a:pt x="80" y="146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2" name="Freeform 63">
                <a:extLst>
                  <a:ext uri="{FF2B5EF4-FFF2-40B4-BE49-F238E27FC236}">
                    <a16:creationId xmlns:a16="http://schemas.microsoft.com/office/drawing/2014/main" id="{54B0B8CB-63D3-4A0E-A137-F58D49476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" y="2622"/>
                <a:ext cx="156" cy="154"/>
              </a:xfrm>
              <a:custGeom>
                <a:avLst/>
                <a:gdLst>
                  <a:gd name="T0" fmla="*/ 156 w 156"/>
                  <a:gd name="T1" fmla="*/ 134 h 154"/>
                  <a:gd name="T2" fmla="*/ 86 w 156"/>
                  <a:gd name="T3" fmla="*/ 152 h 154"/>
                  <a:gd name="T4" fmla="*/ 20 w 156"/>
                  <a:gd name="T5" fmla="*/ 154 h 154"/>
                  <a:gd name="T6" fmla="*/ 0 w 156"/>
                  <a:gd name="T7" fmla="*/ 26 h 154"/>
                  <a:gd name="T8" fmla="*/ 132 w 156"/>
                  <a:gd name="T9" fmla="*/ 0 h 154"/>
                  <a:gd name="T10" fmla="*/ 156 w 156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4">
                    <a:moveTo>
                      <a:pt x="156" y="134"/>
                    </a:moveTo>
                    <a:lnTo>
                      <a:pt x="86" y="152"/>
                    </a:lnTo>
                    <a:lnTo>
                      <a:pt x="20" y="154"/>
                    </a:lnTo>
                    <a:lnTo>
                      <a:pt x="0" y="26"/>
                    </a:lnTo>
                    <a:lnTo>
                      <a:pt x="132" y="0"/>
                    </a:lnTo>
                    <a:lnTo>
                      <a:pt x="156" y="134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3" name="Freeform 64">
                <a:extLst>
                  <a:ext uri="{FF2B5EF4-FFF2-40B4-BE49-F238E27FC236}">
                    <a16:creationId xmlns:a16="http://schemas.microsoft.com/office/drawing/2014/main" id="{8B92E169-9BAF-47ED-9FD9-D3FF7C698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4" y="2746"/>
                <a:ext cx="154" cy="154"/>
              </a:xfrm>
              <a:custGeom>
                <a:avLst/>
                <a:gdLst>
                  <a:gd name="T0" fmla="*/ 154 w 154"/>
                  <a:gd name="T1" fmla="*/ 134 h 154"/>
                  <a:gd name="T2" fmla="*/ 22 w 154"/>
                  <a:gd name="T3" fmla="*/ 154 h 154"/>
                  <a:gd name="T4" fmla="*/ 0 w 154"/>
                  <a:gd name="T5" fmla="*/ 28 h 154"/>
                  <a:gd name="T6" fmla="*/ 70 w 154"/>
                  <a:gd name="T7" fmla="*/ 10 h 154"/>
                  <a:gd name="T8" fmla="*/ 126 w 154"/>
                  <a:gd name="T9" fmla="*/ 0 h 154"/>
                  <a:gd name="T10" fmla="*/ 154 w 154"/>
                  <a:gd name="T11" fmla="*/ 134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4" h="154">
                    <a:moveTo>
                      <a:pt x="154" y="134"/>
                    </a:moveTo>
                    <a:lnTo>
                      <a:pt x="22" y="154"/>
                    </a:lnTo>
                    <a:lnTo>
                      <a:pt x="0" y="28"/>
                    </a:lnTo>
                    <a:lnTo>
                      <a:pt x="70" y="10"/>
                    </a:lnTo>
                    <a:lnTo>
                      <a:pt x="126" y="0"/>
                    </a:lnTo>
                    <a:lnTo>
                      <a:pt x="154" y="134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4" name="Freeform 65">
                <a:extLst>
                  <a:ext uri="{FF2B5EF4-FFF2-40B4-BE49-F238E27FC236}">
                    <a16:creationId xmlns:a16="http://schemas.microsoft.com/office/drawing/2014/main" id="{6525CCCB-A3EE-4C69-8049-A72375C639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" y="2648"/>
                <a:ext cx="156" cy="154"/>
              </a:xfrm>
              <a:custGeom>
                <a:avLst/>
                <a:gdLst>
                  <a:gd name="T0" fmla="*/ 156 w 156"/>
                  <a:gd name="T1" fmla="*/ 128 h 154"/>
                  <a:gd name="T2" fmla="*/ 88 w 156"/>
                  <a:gd name="T3" fmla="*/ 146 h 154"/>
                  <a:gd name="T4" fmla="*/ 24 w 156"/>
                  <a:gd name="T5" fmla="*/ 154 h 154"/>
                  <a:gd name="T6" fmla="*/ 0 w 156"/>
                  <a:gd name="T7" fmla="*/ 20 h 154"/>
                  <a:gd name="T8" fmla="*/ 136 w 156"/>
                  <a:gd name="T9" fmla="*/ 0 h 154"/>
                  <a:gd name="T10" fmla="*/ 156 w 156"/>
                  <a:gd name="T11" fmla="*/ 128 h 1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6" h="154">
                    <a:moveTo>
                      <a:pt x="156" y="128"/>
                    </a:moveTo>
                    <a:lnTo>
                      <a:pt x="88" y="146"/>
                    </a:lnTo>
                    <a:lnTo>
                      <a:pt x="24" y="154"/>
                    </a:lnTo>
                    <a:lnTo>
                      <a:pt x="0" y="20"/>
                    </a:lnTo>
                    <a:lnTo>
                      <a:pt x="136" y="0"/>
                    </a:lnTo>
                    <a:lnTo>
                      <a:pt x="156" y="128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5" name="Freeform 66">
                <a:extLst>
                  <a:ext uri="{FF2B5EF4-FFF2-40B4-BE49-F238E27FC236}">
                    <a16:creationId xmlns:a16="http://schemas.microsoft.com/office/drawing/2014/main" id="{467C3B2A-7685-49DA-8DB2-5220D6AFF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" y="2599"/>
                <a:ext cx="168" cy="226"/>
              </a:xfrm>
              <a:custGeom>
                <a:avLst/>
                <a:gdLst>
                  <a:gd name="T0" fmla="*/ 168 w 168"/>
                  <a:gd name="T1" fmla="*/ 204 h 226"/>
                  <a:gd name="T2" fmla="*/ 98 w 168"/>
                  <a:gd name="T3" fmla="*/ 218 h 226"/>
                  <a:gd name="T4" fmla="*/ 34 w 168"/>
                  <a:gd name="T5" fmla="*/ 226 h 226"/>
                  <a:gd name="T6" fmla="*/ 8 w 168"/>
                  <a:gd name="T7" fmla="*/ 62 h 226"/>
                  <a:gd name="T8" fmla="*/ 0 w 168"/>
                  <a:gd name="T9" fmla="*/ 22 h 226"/>
                  <a:gd name="T10" fmla="*/ 64 w 168"/>
                  <a:gd name="T11" fmla="*/ 10 h 226"/>
                  <a:gd name="T12" fmla="*/ 132 w 168"/>
                  <a:gd name="T13" fmla="*/ 0 h 226"/>
                  <a:gd name="T14" fmla="*/ 144 w 168"/>
                  <a:gd name="T15" fmla="*/ 70 h 226"/>
                  <a:gd name="T16" fmla="*/ 168 w 168"/>
                  <a:gd name="T17" fmla="*/ 204 h 22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8" h="226">
                    <a:moveTo>
                      <a:pt x="168" y="204"/>
                    </a:moveTo>
                    <a:lnTo>
                      <a:pt x="98" y="218"/>
                    </a:lnTo>
                    <a:lnTo>
                      <a:pt x="34" y="226"/>
                    </a:lnTo>
                    <a:lnTo>
                      <a:pt x="8" y="62"/>
                    </a:lnTo>
                    <a:lnTo>
                      <a:pt x="0" y="22"/>
                    </a:lnTo>
                    <a:lnTo>
                      <a:pt x="64" y="10"/>
                    </a:lnTo>
                    <a:lnTo>
                      <a:pt x="132" y="0"/>
                    </a:lnTo>
                    <a:lnTo>
                      <a:pt x="144" y="70"/>
                    </a:lnTo>
                    <a:lnTo>
                      <a:pt x="168" y="204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b="1" kern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6" name="Freeform 67">
                <a:extLst>
                  <a:ext uri="{FF2B5EF4-FFF2-40B4-BE49-F238E27FC236}">
                    <a16:creationId xmlns:a16="http://schemas.microsoft.com/office/drawing/2014/main" id="{F21B6A61-78D4-4272-81B1-954B794B1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0" y="2774"/>
                <a:ext cx="156" cy="154"/>
              </a:xfrm>
              <a:custGeom>
                <a:avLst/>
                <a:gdLst>
                  <a:gd name="T0" fmla="*/ 156 w 156"/>
                  <a:gd name="T1" fmla="*/ 126 h 154"/>
                  <a:gd name="T2" fmla="*/ 122 w 156"/>
                  <a:gd name="T3" fmla="*/ 134 h 154"/>
                  <a:gd name="T4" fmla="*/ 24 w 156"/>
                  <a:gd name="T5" fmla="*/ 154 h 154"/>
                  <a:gd name="T6" fmla="*/ 0 w 156"/>
                  <a:gd name="T7" fmla="*/ 20 h 154"/>
                  <a:gd name="T8" fmla="*/ 68 w 156"/>
                  <a:gd name="T9" fmla="*/ 2 h 154"/>
                  <a:gd name="T10" fmla="*/ 134 w 156"/>
                  <a:gd name="T11" fmla="*/ 0 h 154"/>
                  <a:gd name="T12" fmla="*/ 156 w 156"/>
                  <a:gd name="T13" fmla="*/ 126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56" h="154">
                    <a:moveTo>
                      <a:pt x="156" y="126"/>
                    </a:moveTo>
                    <a:lnTo>
                      <a:pt x="122" y="134"/>
                    </a:lnTo>
                    <a:lnTo>
                      <a:pt x="24" y="154"/>
                    </a:lnTo>
                    <a:lnTo>
                      <a:pt x="0" y="20"/>
                    </a:lnTo>
                    <a:lnTo>
                      <a:pt x="68" y="2"/>
                    </a:lnTo>
                    <a:lnTo>
                      <a:pt x="134" y="0"/>
                    </a:lnTo>
                    <a:lnTo>
                      <a:pt x="156" y="126"/>
                    </a:lnTo>
                    <a:close/>
                  </a:path>
                </a:pathLst>
              </a:custGeom>
              <a:solidFill>
                <a:schemeClr val="bg1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7" name="Freeform 68">
                <a:extLst>
                  <a:ext uri="{FF2B5EF4-FFF2-40B4-BE49-F238E27FC236}">
                    <a16:creationId xmlns:a16="http://schemas.microsoft.com/office/drawing/2014/main" id="{FD52AB6C-1C97-4694-8E9E-CE8BB78482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6" y="2794"/>
                <a:ext cx="158" cy="154"/>
              </a:xfrm>
              <a:custGeom>
                <a:avLst/>
                <a:gdLst>
                  <a:gd name="T0" fmla="*/ 158 w 158"/>
                  <a:gd name="T1" fmla="*/ 134 h 154"/>
                  <a:gd name="T2" fmla="*/ 92 w 158"/>
                  <a:gd name="T3" fmla="*/ 146 h 154"/>
                  <a:gd name="T4" fmla="*/ 20 w 158"/>
                  <a:gd name="T5" fmla="*/ 154 h 154"/>
                  <a:gd name="T6" fmla="*/ 0 w 158"/>
                  <a:gd name="T7" fmla="*/ 22 h 154"/>
                  <a:gd name="T8" fmla="*/ 70 w 158"/>
                  <a:gd name="T9" fmla="*/ 8 h 154"/>
                  <a:gd name="T10" fmla="*/ 134 w 158"/>
                  <a:gd name="T11" fmla="*/ 0 h 154"/>
                  <a:gd name="T12" fmla="*/ 158 w 158"/>
                  <a:gd name="T13" fmla="*/ 134 h 1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58" h="154">
                    <a:moveTo>
                      <a:pt x="158" y="134"/>
                    </a:moveTo>
                    <a:lnTo>
                      <a:pt x="92" y="146"/>
                    </a:lnTo>
                    <a:lnTo>
                      <a:pt x="20" y="154"/>
                    </a:lnTo>
                    <a:lnTo>
                      <a:pt x="0" y="22"/>
                    </a:lnTo>
                    <a:lnTo>
                      <a:pt x="70" y="8"/>
                    </a:lnTo>
                    <a:lnTo>
                      <a:pt x="134" y="0"/>
                    </a:lnTo>
                    <a:lnTo>
                      <a:pt x="158" y="134"/>
                    </a:lnTo>
                    <a:close/>
                  </a:path>
                </a:pathLst>
              </a:custGeom>
              <a:solidFill>
                <a:srgbClr val="00A0AF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8" name="Freeform 69">
                <a:extLst>
                  <a:ext uri="{FF2B5EF4-FFF2-40B4-BE49-F238E27FC236}">
                    <a16:creationId xmlns:a16="http://schemas.microsoft.com/office/drawing/2014/main" id="{082BE248-C7A9-4AEB-B7C4-3FE3B311A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6" y="2816"/>
                <a:ext cx="210" cy="162"/>
              </a:xfrm>
              <a:custGeom>
                <a:avLst/>
                <a:gdLst>
                  <a:gd name="T0" fmla="*/ 210 w 210"/>
                  <a:gd name="T1" fmla="*/ 132 h 162"/>
                  <a:gd name="T2" fmla="*/ 148 w 210"/>
                  <a:gd name="T3" fmla="*/ 144 h 162"/>
                  <a:gd name="T4" fmla="*/ 8 w 210"/>
                  <a:gd name="T5" fmla="*/ 162 h 162"/>
                  <a:gd name="T6" fmla="*/ 10 w 210"/>
                  <a:gd name="T7" fmla="*/ 100 h 162"/>
                  <a:gd name="T8" fmla="*/ 0 w 210"/>
                  <a:gd name="T9" fmla="*/ 78 h 162"/>
                  <a:gd name="T10" fmla="*/ 8 w 210"/>
                  <a:gd name="T11" fmla="*/ 70 h 162"/>
                  <a:gd name="T12" fmla="*/ 18 w 210"/>
                  <a:gd name="T13" fmla="*/ 76 h 162"/>
                  <a:gd name="T14" fmla="*/ 26 w 210"/>
                  <a:gd name="T15" fmla="*/ 66 h 162"/>
                  <a:gd name="T16" fmla="*/ 8 w 210"/>
                  <a:gd name="T17" fmla="*/ 52 h 162"/>
                  <a:gd name="T18" fmla="*/ 10 w 210"/>
                  <a:gd name="T19" fmla="*/ 24 h 162"/>
                  <a:gd name="T20" fmla="*/ 126 w 210"/>
                  <a:gd name="T21" fmla="*/ 8 h 162"/>
                  <a:gd name="T22" fmla="*/ 190 w 210"/>
                  <a:gd name="T23" fmla="*/ 0 h 162"/>
                  <a:gd name="T24" fmla="*/ 210 w 210"/>
                  <a:gd name="T25" fmla="*/ 132 h 1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10" h="162">
                    <a:moveTo>
                      <a:pt x="210" y="132"/>
                    </a:moveTo>
                    <a:lnTo>
                      <a:pt x="148" y="144"/>
                    </a:lnTo>
                    <a:lnTo>
                      <a:pt x="8" y="162"/>
                    </a:lnTo>
                    <a:lnTo>
                      <a:pt x="10" y="100"/>
                    </a:lnTo>
                    <a:lnTo>
                      <a:pt x="0" y="78"/>
                    </a:lnTo>
                    <a:lnTo>
                      <a:pt x="8" y="70"/>
                    </a:lnTo>
                    <a:lnTo>
                      <a:pt x="18" y="76"/>
                    </a:lnTo>
                    <a:lnTo>
                      <a:pt x="26" y="66"/>
                    </a:lnTo>
                    <a:lnTo>
                      <a:pt x="8" y="52"/>
                    </a:lnTo>
                    <a:lnTo>
                      <a:pt x="10" y="24"/>
                    </a:lnTo>
                    <a:lnTo>
                      <a:pt x="126" y="8"/>
                    </a:lnTo>
                    <a:lnTo>
                      <a:pt x="190" y="0"/>
                    </a:lnTo>
                    <a:lnTo>
                      <a:pt x="210" y="132"/>
                    </a:ln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en-US" sz="578" kern="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71" name="Group 86">
              <a:extLst>
                <a:ext uri="{FF2B5EF4-FFF2-40B4-BE49-F238E27FC236}">
                  <a16:creationId xmlns:a16="http://schemas.microsoft.com/office/drawing/2014/main" id="{50CCD199-218D-4DEC-94E3-DDE458A7E1E9}"/>
                </a:ext>
              </a:extLst>
            </p:cNvPr>
            <p:cNvGrpSpPr>
              <a:grpSpLocks/>
            </p:cNvGrpSpPr>
            <p:nvPr/>
          </p:nvGrpSpPr>
          <p:grpSpPr bwMode="auto">
            <a:xfrm rot="459085">
              <a:off x="1110478" y="519505"/>
              <a:ext cx="4624490" cy="4936015"/>
              <a:chOff x="2666" y="1512"/>
              <a:chExt cx="1418" cy="1661"/>
            </a:xfrm>
          </p:grpSpPr>
          <p:sp>
            <p:nvSpPr>
              <p:cNvPr id="374" name="Rectangle 87">
                <a:extLst>
                  <a:ext uri="{FF2B5EF4-FFF2-40B4-BE49-F238E27FC236}">
                    <a16:creationId xmlns:a16="http://schemas.microsoft.com/office/drawing/2014/main" id="{486800DA-2023-49C6-A0F3-BA73F91BCA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25" y="1956"/>
                <a:ext cx="93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lcona</a:t>
                </a:r>
              </a:p>
            </p:txBody>
          </p:sp>
          <p:sp>
            <p:nvSpPr>
              <p:cNvPr id="375" name="Rectangle 88">
                <a:extLst>
                  <a:ext uri="{FF2B5EF4-FFF2-40B4-BE49-F238E27FC236}">
                    <a16:creationId xmlns:a16="http://schemas.microsoft.com/office/drawing/2014/main" id="{AFA35F3C-2BC6-4709-B953-F32746A534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666" y="1512"/>
                <a:ext cx="0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376" name="Rectangle 89">
                <a:extLst>
                  <a:ext uri="{FF2B5EF4-FFF2-40B4-BE49-F238E27FC236}">
                    <a16:creationId xmlns:a16="http://schemas.microsoft.com/office/drawing/2014/main" id="{2F3B9B56-5353-460A-81DE-2DC410487A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10" y="2865"/>
                <a:ext cx="10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llegan</a:t>
                </a:r>
              </a:p>
            </p:txBody>
          </p:sp>
          <p:sp>
            <p:nvSpPr>
              <p:cNvPr id="377" name="Rectangle 90">
                <a:extLst>
                  <a:ext uri="{FF2B5EF4-FFF2-40B4-BE49-F238E27FC236}">
                    <a16:creationId xmlns:a16="http://schemas.microsoft.com/office/drawing/2014/main" id="{F0F24D46-B2C6-4056-98B5-EDA3F8453C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586" y="1826"/>
                <a:ext cx="95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lpena</a:t>
                </a:r>
              </a:p>
            </p:txBody>
          </p:sp>
          <p:sp>
            <p:nvSpPr>
              <p:cNvPr id="378" name="Rectangle 91">
                <a:extLst>
                  <a:ext uri="{FF2B5EF4-FFF2-40B4-BE49-F238E27FC236}">
                    <a16:creationId xmlns:a16="http://schemas.microsoft.com/office/drawing/2014/main" id="{19C2E302-BFA8-462F-8B5E-4937501CB8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89" y="1900"/>
                <a:ext cx="94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ntrim</a:t>
                </a:r>
              </a:p>
            </p:txBody>
          </p:sp>
          <p:sp>
            <p:nvSpPr>
              <p:cNvPr id="379" name="Rectangle 92">
                <a:extLst>
                  <a:ext uri="{FF2B5EF4-FFF2-40B4-BE49-F238E27FC236}">
                    <a16:creationId xmlns:a16="http://schemas.microsoft.com/office/drawing/2014/main" id="{7EBA969A-88A8-4D0F-9B9A-E85DB2B16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81" y="2191"/>
                <a:ext cx="96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Arenac</a:t>
                </a:r>
              </a:p>
            </p:txBody>
          </p:sp>
          <p:sp>
            <p:nvSpPr>
              <p:cNvPr id="380" name="Rectangle 94">
                <a:extLst>
                  <a:ext uri="{FF2B5EF4-FFF2-40B4-BE49-F238E27FC236}">
                    <a16:creationId xmlns:a16="http://schemas.microsoft.com/office/drawing/2014/main" id="{75C4FCC3-1277-4660-AB7B-27CA843C60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87" y="2842"/>
                <a:ext cx="7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arry</a:t>
                </a:r>
              </a:p>
            </p:txBody>
          </p:sp>
          <p:sp>
            <p:nvSpPr>
              <p:cNvPr id="381" name="Rectangle 95">
                <a:extLst>
                  <a:ext uri="{FF2B5EF4-FFF2-40B4-BE49-F238E27FC236}">
                    <a16:creationId xmlns:a16="http://schemas.microsoft.com/office/drawing/2014/main" id="{F041FB73-F130-435E-BC92-209DDA0E05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97" y="2360"/>
                <a:ext cx="58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ay</a:t>
                </a:r>
              </a:p>
            </p:txBody>
          </p:sp>
          <p:sp>
            <p:nvSpPr>
              <p:cNvPr id="382" name="Rectangle 96">
                <a:extLst>
                  <a:ext uri="{FF2B5EF4-FFF2-40B4-BE49-F238E27FC236}">
                    <a16:creationId xmlns:a16="http://schemas.microsoft.com/office/drawing/2014/main" id="{E8A815A5-E55F-4227-AC94-4DD4B299AD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69" y="2075"/>
                <a:ext cx="90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enzie</a:t>
                </a:r>
              </a:p>
            </p:txBody>
          </p:sp>
          <p:sp>
            <p:nvSpPr>
              <p:cNvPr id="383" name="Rectangle 97">
                <a:extLst>
                  <a:ext uri="{FF2B5EF4-FFF2-40B4-BE49-F238E27FC236}">
                    <a16:creationId xmlns:a16="http://schemas.microsoft.com/office/drawing/2014/main" id="{DC6EC795-09A0-4E9D-84B2-7E84D63C1A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08" y="3129"/>
                <a:ext cx="100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errien</a:t>
                </a:r>
              </a:p>
            </p:txBody>
          </p:sp>
          <p:sp>
            <p:nvSpPr>
              <p:cNvPr id="384" name="Rectangle 98">
                <a:extLst>
                  <a:ext uri="{FF2B5EF4-FFF2-40B4-BE49-F238E27FC236}">
                    <a16:creationId xmlns:a16="http://schemas.microsoft.com/office/drawing/2014/main" id="{2C06A718-37C0-4EE3-B8FD-940BDD95EF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90" y="3086"/>
                <a:ext cx="95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Branch</a:t>
                </a:r>
              </a:p>
            </p:txBody>
          </p:sp>
          <p:sp>
            <p:nvSpPr>
              <p:cNvPr id="385" name="Rectangle 99">
                <a:extLst>
                  <a:ext uri="{FF2B5EF4-FFF2-40B4-BE49-F238E27FC236}">
                    <a16:creationId xmlns:a16="http://schemas.microsoft.com/office/drawing/2014/main" id="{79ECCE32-369C-4FAE-B657-3DFCEA3829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85" y="2954"/>
                <a:ext cx="11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alhoun</a:t>
                </a:r>
              </a:p>
            </p:txBody>
          </p:sp>
          <p:sp>
            <p:nvSpPr>
              <p:cNvPr id="386" name="Rectangle 100">
                <a:extLst>
                  <a:ext uri="{FF2B5EF4-FFF2-40B4-BE49-F238E27FC236}">
                    <a16:creationId xmlns:a16="http://schemas.microsoft.com/office/drawing/2014/main" id="{134777A1-78E8-41EC-A618-2EFDFF03FC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40" y="3126"/>
                <a:ext cx="60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ass</a:t>
                </a:r>
              </a:p>
            </p:txBody>
          </p:sp>
          <p:sp>
            <p:nvSpPr>
              <p:cNvPr id="387" name="Rectangle 101">
                <a:extLst>
                  <a:ext uri="{FF2B5EF4-FFF2-40B4-BE49-F238E27FC236}">
                    <a16:creationId xmlns:a16="http://schemas.microsoft.com/office/drawing/2014/main" id="{80E33D78-48E4-4707-9700-4EB205FD71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03" y="1797"/>
                <a:ext cx="122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harlevoix</a:t>
                </a:r>
              </a:p>
            </p:txBody>
          </p:sp>
          <p:sp>
            <p:nvSpPr>
              <p:cNvPr id="395" name="Rectangle 102">
                <a:extLst>
                  <a:ext uri="{FF2B5EF4-FFF2-40B4-BE49-F238E27FC236}">
                    <a16:creationId xmlns:a16="http://schemas.microsoft.com/office/drawing/2014/main" id="{E00B7FAA-48AA-4EC1-A70D-0F73BF05B7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17" y="1717"/>
                <a:ext cx="131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heboygan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397" name="Rectangle 104">
                <a:extLst>
                  <a:ext uri="{FF2B5EF4-FFF2-40B4-BE49-F238E27FC236}">
                    <a16:creationId xmlns:a16="http://schemas.microsoft.com/office/drawing/2014/main" id="{34F29DA8-B329-4809-8C28-66E2BED56E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27" y="2262"/>
                <a:ext cx="70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lare</a:t>
                </a:r>
              </a:p>
            </p:txBody>
          </p:sp>
          <p:sp>
            <p:nvSpPr>
              <p:cNvPr id="398" name="Rectangle 105">
                <a:extLst>
                  <a:ext uri="{FF2B5EF4-FFF2-40B4-BE49-F238E27FC236}">
                    <a16:creationId xmlns:a16="http://schemas.microsoft.com/office/drawing/2014/main" id="{FDE7268E-F264-4A6A-98FE-6A2BC0333E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56" y="2667"/>
                <a:ext cx="97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linton</a:t>
                </a:r>
              </a:p>
            </p:txBody>
          </p:sp>
          <p:sp>
            <p:nvSpPr>
              <p:cNvPr id="399" name="Rectangle 106">
                <a:extLst>
                  <a:ext uri="{FF2B5EF4-FFF2-40B4-BE49-F238E27FC236}">
                    <a16:creationId xmlns:a16="http://schemas.microsoft.com/office/drawing/2014/main" id="{D611490C-59C7-4422-927D-F89AE75BC1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40" y="1987"/>
                <a:ext cx="126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Crawford</a:t>
                </a:r>
              </a:p>
            </p:txBody>
          </p:sp>
          <p:sp>
            <p:nvSpPr>
              <p:cNvPr id="400" name="Rectangle 109">
                <a:extLst>
                  <a:ext uri="{FF2B5EF4-FFF2-40B4-BE49-F238E27FC236}">
                    <a16:creationId xmlns:a16="http://schemas.microsoft.com/office/drawing/2014/main" id="{301AD73B-8547-4AEC-92C4-3F01AEECE4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20" y="2813"/>
                <a:ext cx="78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Eaton</a:t>
                </a:r>
              </a:p>
            </p:txBody>
          </p:sp>
          <p:sp>
            <p:nvSpPr>
              <p:cNvPr id="401" name="Rectangle 110">
                <a:extLst>
                  <a:ext uri="{FF2B5EF4-FFF2-40B4-BE49-F238E27FC236}">
                    <a16:creationId xmlns:a16="http://schemas.microsoft.com/office/drawing/2014/main" id="{06022AEC-9213-408E-B2CB-512280E036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23" y="1674"/>
                <a:ext cx="109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Emmet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02" name="Rectangle 111">
                <a:extLst>
                  <a:ext uri="{FF2B5EF4-FFF2-40B4-BE49-F238E27FC236}">
                    <a16:creationId xmlns:a16="http://schemas.microsoft.com/office/drawing/2014/main" id="{290A39C9-CBB2-4B07-B103-1565EACF1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98" y="2583"/>
                <a:ext cx="118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enesee</a:t>
                </a:r>
              </a:p>
            </p:txBody>
          </p:sp>
          <p:sp>
            <p:nvSpPr>
              <p:cNvPr id="403" name="Rectangle 112">
                <a:extLst>
                  <a:ext uri="{FF2B5EF4-FFF2-40B4-BE49-F238E27FC236}">
                    <a16:creationId xmlns:a16="http://schemas.microsoft.com/office/drawing/2014/main" id="{CF6DEE6B-08BB-4B62-9C34-287E13CE5A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44" y="2239"/>
                <a:ext cx="125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ladwin</a:t>
                </a:r>
              </a:p>
            </p:txBody>
          </p:sp>
          <p:sp>
            <p:nvSpPr>
              <p:cNvPr id="404" name="Rectangle 114">
                <a:extLst>
                  <a:ext uri="{FF2B5EF4-FFF2-40B4-BE49-F238E27FC236}">
                    <a16:creationId xmlns:a16="http://schemas.microsoft.com/office/drawing/2014/main" id="{2B029CFE-0404-45ED-8B58-7A4D981D5A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78" y="2027"/>
                <a:ext cx="127" cy="7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rand Traverse</a:t>
                </a:r>
              </a:p>
            </p:txBody>
          </p:sp>
          <p:sp>
            <p:nvSpPr>
              <p:cNvPr id="405" name="Rectangle 115">
                <a:extLst>
                  <a:ext uri="{FF2B5EF4-FFF2-40B4-BE49-F238E27FC236}">
                    <a16:creationId xmlns:a16="http://schemas.microsoft.com/office/drawing/2014/main" id="{609EDF8E-92AA-4487-A289-3B05D6D97B3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43" y="2537"/>
                <a:ext cx="96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Gratiot</a:t>
                </a:r>
              </a:p>
            </p:txBody>
          </p:sp>
          <p:sp>
            <p:nvSpPr>
              <p:cNvPr id="406" name="Rectangle 116">
                <a:extLst>
                  <a:ext uri="{FF2B5EF4-FFF2-40B4-BE49-F238E27FC236}">
                    <a16:creationId xmlns:a16="http://schemas.microsoft.com/office/drawing/2014/main" id="{B7807E4C-FF35-4443-90C9-11BA37014B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24" y="3069"/>
                <a:ext cx="116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Hillsdale</a:t>
                </a:r>
              </a:p>
            </p:txBody>
          </p:sp>
          <p:sp>
            <p:nvSpPr>
              <p:cNvPr id="407" name="Rectangle 118">
                <a:extLst>
                  <a:ext uri="{FF2B5EF4-FFF2-40B4-BE49-F238E27FC236}">
                    <a16:creationId xmlns:a16="http://schemas.microsoft.com/office/drawing/2014/main" id="{C4D0978A-E392-40F7-B5DB-0BA2598DD1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849" y="2245"/>
                <a:ext cx="85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Huron</a:t>
                </a:r>
              </a:p>
            </p:txBody>
          </p:sp>
          <p:sp>
            <p:nvSpPr>
              <p:cNvPr id="408" name="Rectangle 119">
                <a:extLst>
                  <a:ext uri="{FF2B5EF4-FFF2-40B4-BE49-F238E27FC236}">
                    <a16:creationId xmlns:a16="http://schemas.microsoft.com/office/drawing/2014/main" id="{7D7A01E1-28BB-46AD-8570-9228BEC73F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41" y="2793"/>
                <a:ext cx="10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ngham</a:t>
                </a:r>
              </a:p>
            </p:txBody>
          </p:sp>
          <p:sp>
            <p:nvSpPr>
              <p:cNvPr id="409" name="Rectangle 120">
                <a:extLst>
                  <a:ext uri="{FF2B5EF4-FFF2-40B4-BE49-F238E27FC236}">
                    <a16:creationId xmlns:a16="http://schemas.microsoft.com/office/drawing/2014/main" id="{49221DD5-B54F-42AE-9BAE-92686CFDE6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37" y="2693"/>
                <a:ext cx="67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onia</a:t>
                </a:r>
              </a:p>
            </p:txBody>
          </p:sp>
          <p:sp>
            <p:nvSpPr>
              <p:cNvPr id="410" name="Rectangle 121">
                <a:extLst>
                  <a:ext uri="{FF2B5EF4-FFF2-40B4-BE49-F238E27FC236}">
                    <a16:creationId xmlns:a16="http://schemas.microsoft.com/office/drawing/2014/main" id="{D89F91D3-2320-4828-A1F4-56DFBD8DA2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49" y="2077"/>
                <a:ext cx="7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osco</a:t>
                </a:r>
              </a:p>
            </p:txBody>
          </p:sp>
          <p:sp>
            <p:nvSpPr>
              <p:cNvPr id="411" name="Rectangle 123">
                <a:extLst>
                  <a:ext uri="{FF2B5EF4-FFF2-40B4-BE49-F238E27FC236}">
                    <a16:creationId xmlns:a16="http://schemas.microsoft.com/office/drawing/2014/main" id="{7BA37345-27E5-4731-86C3-1D1F4B5AF7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45" y="2408"/>
                <a:ext cx="104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Isabella</a:t>
                </a:r>
              </a:p>
            </p:txBody>
          </p:sp>
          <p:sp>
            <p:nvSpPr>
              <p:cNvPr id="412" name="Rectangle 124">
                <a:extLst>
                  <a:ext uri="{FF2B5EF4-FFF2-40B4-BE49-F238E27FC236}">
                    <a16:creationId xmlns:a16="http://schemas.microsoft.com/office/drawing/2014/main" id="{4CBCA343-32D0-4EBB-9558-2E9542F116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56" y="2924"/>
                <a:ext cx="104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Jackson</a:t>
                </a:r>
              </a:p>
            </p:txBody>
          </p:sp>
          <p:sp>
            <p:nvSpPr>
              <p:cNvPr id="413" name="Rectangle 125">
                <a:extLst>
                  <a:ext uri="{FF2B5EF4-FFF2-40B4-BE49-F238E27FC236}">
                    <a16:creationId xmlns:a16="http://schemas.microsoft.com/office/drawing/2014/main" id="{F2E4331E-7999-4F26-9100-9BC7892119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24" y="2981"/>
                <a:ext cx="128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Kalamazoo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14" name="Rectangle 126">
                <a:extLst>
                  <a:ext uri="{FF2B5EF4-FFF2-40B4-BE49-F238E27FC236}">
                    <a16:creationId xmlns:a16="http://schemas.microsoft.com/office/drawing/2014/main" id="{3D14CC2C-A0A3-4DC6-925A-B7A743280C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18" y="2016"/>
                <a:ext cx="117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Kalkaska</a:t>
                </a:r>
              </a:p>
            </p:txBody>
          </p:sp>
          <p:sp>
            <p:nvSpPr>
              <p:cNvPr id="415" name="Rectangle 127">
                <a:extLst>
                  <a:ext uri="{FF2B5EF4-FFF2-40B4-BE49-F238E27FC236}">
                    <a16:creationId xmlns:a16="http://schemas.microsoft.com/office/drawing/2014/main" id="{C13252AC-63E6-4AAA-9259-B25907072B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07" y="2668"/>
                <a:ext cx="6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Kent</a:t>
                </a:r>
              </a:p>
            </p:txBody>
          </p:sp>
          <p:sp>
            <p:nvSpPr>
              <p:cNvPr id="416" name="Rectangle 129">
                <a:extLst>
                  <a:ext uri="{FF2B5EF4-FFF2-40B4-BE49-F238E27FC236}">
                    <a16:creationId xmlns:a16="http://schemas.microsoft.com/office/drawing/2014/main" id="{F4F3562D-7F10-4A9B-AE43-D335B937B4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71" y="2297"/>
                <a:ext cx="6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ake</a:t>
                </a:r>
              </a:p>
            </p:txBody>
          </p:sp>
          <p:sp>
            <p:nvSpPr>
              <p:cNvPr id="417" name="Rectangle 130">
                <a:extLst>
                  <a:ext uri="{FF2B5EF4-FFF2-40B4-BE49-F238E27FC236}">
                    <a16:creationId xmlns:a16="http://schemas.microsoft.com/office/drawing/2014/main" id="{F58600A0-B2A7-473A-BBAC-0DEFE1D44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840" y="2536"/>
                <a:ext cx="9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apeer</a:t>
                </a:r>
              </a:p>
            </p:txBody>
          </p:sp>
          <p:sp>
            <p:nvSpPr>
              <p:cNvPr id="418" name="Rectangle 131">
                <a:extLst>
                  <a:ext uri="{FF2B5EF4-FFF2-40B4-BE49-F238E27FC236}">
                    <a16:creationId xmlns:a16="http://schemas.microsoft.com/office/drawing/2014/main" id="{1DE4D063-1D21-443F-8A45-2A16B1122B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96" y="1974"/>
                <a:ext cx="119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eelanau</a:t>
                </a:r>
              </a:p>
            </p:txBody>
          </p:sp>
          <p:sp>
            <p:nvSpPr>
              <p:cNvPr id="419" name="Rectangle 132">
                <a:extLst>
                  <a:ext uri="{FF2B5EF4-FFF2-40B4-BE49-F238E27FC236}">
                    <a16:creationId xmlns:a16="http://schemas.microsoft.com/office/drawing/2014/main" id="{3CC3AFF4-5AF8-4F52-B800-2E15CD57E7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65" y="3050"/>
                <a:ext cx="12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enawee</a:t>
                </a:r>
              </a:p>
            </p:txBody>
          </p:sp>
          <p:sp>
            <p:nvSpPr>
              <p:cNvPr id="420" name="Rectangle 133">
                <a:extLst>
                  <a:ext uri="{FF2B5EF4-FFF2-40B4-BE49-F238E27FC236}">
                    <a16:creationId xmlns:a16="http://schemas.microsoft.com/office/drawing/2014/main" id="{5521F38B-E88C-478F-B2E7-43AAD7B27D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66" y="2775"/>
                <a:ext cx="118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Livingston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21" name="Rectangle 136">
                <a:extLst>
                  <a:ext uri="{FF2B5EF4-FFF2-40B4-BE49-F238E27FC236}">
                    <a16:creationId xmlns:a16="http://schemas.microsoft.com/office/drawing/2014/main" id="{5E3072B7-DED8-498E-9507-6E73E41015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941" y="2656"/>
                <a:ext cx="104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acomb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22" name="Rectangle 137">
                <a:extLst>
                  <a:ext uri="{FF2B5EF4-FFF2-40B4-BE49-F238E27FC236}">
                    <a16:creationId xmlns:a16="http://schemas.microsoft.com/office/drawing/2014/main" id="{4213580C-6694-41F6-81E2-F6611B2178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64" y="2191"/>
                <a:ext cx="109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anistee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23" name="Rectangle 139">
                <a:extLst>
                  <a:ext uri="{FF2B5EF4-FFF2-40B4-BE49-F238E27FC236}">
                    <a16:creationId xmlns:a16="http://schemas.microsoft.com/office/drawing/2014/main" id="{F565BCFA-D862-4D46-BE91-C660E518EA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32" y="2314"/>
                <a:ext cx="93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ason</a:t>
                </a:r>
              </a:p>
            </p:txBody>
          </p:sp>
          <p:sp>
            <p:nvSpPr>
              <p:cNvPr id="424" name="Rectangle 140">
                <a:extLst>
                  <a:ext uri="{FF2B5EF4-FFF2-40B4-BE49-F238E27FC236}">
                    <a16:creationId xmlns:a16="http://schemas.microsoft.com/office/drawing/2014/main" id="{942D40A6-5E0F-4669-ADF7-CACC7FCE40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06" y="2427"/>
                <a:ext cx="117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ecosta</a:t>
                </a:r>
              </a:p>
            </p:txBody>
          </p:sp>
          <p:sp>
            <p:nvSpPr>
              <p:cNvPr id="425" name="Rectangle 142">
                <a:extLst>
                  <a:ext uri="{FF2B5EF4-FFF2-40B4-BE49-F238E27FC236}">
                    <a16:creationId xmlns:a16="http://schemas.microsoft.com/office/drawing/2014/main" id="{4FF6EAF9-07BF-46C0-AC73-6A24A277BE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70" y="2393"/>
                <a:ext cx="97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idland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26" name="Rectangle 143">
                <a:extLst>
                  <a:ext uri="{FF2B5EF4-FFF2-40B4-BE49-F238E27FC236}">
                    <a16:creationId xmlns:a16="http://schemas.microsoft.com/office/drawing/2014/main" id="{07FC8CBA-B7B7-4FEF-8971-6FE60B2969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27" y="2148"/>
                <a:ext cx="124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issaukee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27" name="Rectangle 144">
                <a:extLst>
                  <a:ext uri="{FF2B5EF4-FFF2-40B4-BE49-F238E27FC236}">
                    <a16:creationId xmlns:a16="http://schemas.microsoft.com/office/drawing/2014/main" id="{F513CF1A-4928-48DF-A3B8-5AF9694C10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819" y="2965"/>
                <a:ext cx="13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onroe</a:t>
                </a:r>
              </a:p>
            </p:txBody>
          </p:sp>
          <p:sp>
            <p:nvSpPr>
              <p:cNvPr id="428" name="Rectangle 145">
                <a:extLst>
                  <a:ext uri="{FF2B5EF4-FFF2-40B4-BE49-F238E27FC236}">
                    <a16:creationId xmlns:a16="http://schemas.microsoft.com/office/drawing/2014/main" id="{2E1DA5D6-1253-431A-B062-D6A1ED9EEA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47" y="2519"/>
                <a:ext cx="140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ontcalm</a:t>
                </a:r>
              </a:p>
            </p:txBody>
          </p:sp>
          <p:sp>
            <p:nvSpPr>
              <p:cNvPr id="429" name="Rectangle 146">
                <a:extLst>
                  <a:ext uri="{FF2B5EF4-FFF2-40B4-BE49-F238E27FC236}">
                    <a16:creationId xmlns:a16="http://schemas.microsoft.com/office/drawing/2014/main" id="{A3060DFC-0A7C-4AFE-AA5C-517E178826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13" y="1818"/>
                <a:ext cx="185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ontmorency</a:t>
                </a:r>
              </a:p>
            </p:txBody>
          </p:sp>
          <p:sp>
            <p:nvSpPr>
              <p:cNvPr id="430" name="Rectangle 147">
                <a:extLst>
                  <a:ext uri="{FF2B5EF4-FFF2-40B4-BE49-F238E27FC236}">
                    <a16:creationId xmlns:a16="http://schemas.microsoft.com/office/drawing/2014/main" id="{24FB0972-5929-4716-8F56-170A920E8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22" y="2604"/>
                <a:ext cx="122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Muskegon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31" name="Rectangle 148">
                <a:extLst>
                  <a:ext uri="{FF2B5EF4-FFF2-40B4-BE49-F238E27FC236}">
                    <a16:creationId xmlns:a16="http://schemas.microsoft.com/office/drawing/2014/main" id="{DB1F10EE-2DF0-4E35-9F5D-4AAE74144E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87" y="2476"/>
                <a:ext cx="109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Newaygo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32" name="Rectangle 149">
                <a:extLst>
                  <a:ext uri="{FF2B5EF4-FFF2-40B4-BE49-F238E27FC236}">
                    <a16:creationId xmlns:a16="http://schemas.microsoft.com/office/drawing/2014/main" id="{4EFEDB46-90C1-45F4-AC63-5AE3BE014C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819" y="2745"/>
                <a:ext cx="11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akland</a:t>
                </a:r>
              </a:p>
            </p:txBody>
          </p:sp>
          <p:sp>
            <p:nvSpPr>
              <p:cNvPr id="433" name="Rectangle 150">
                <a:extLst>
                  <a:ext uri="{FF2B5EF4-FFF2-40B4-BE49-F238E27FC236}">
                    <a16:creationId xmlns:a16="http://schemas.microsoft.com/office/drawing/2014/main" id="{7B455E7F-EC69-47BF-AE06-2257F70C3CA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951" y="2476"/>
                <a:ext cx="103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ceana</a:t>
                </a:r>
              </a:p>
            </p:txBody>
          </p:sp>
          <p:sp>
            <p:nvSpPr>
              <p:cNvPr id="434" name="Rectangle 151">
                <a:extLst>
                  <a:ext uri="{FF2B5EF4-FFF2-40B4-BE49-F238E27FC236}">
                    <a16:creationId xmlns:a16="http://schemas.microsoft.com/office/drawing/2014/main" id="{A31100CE-8041-4D52-ABA9-481FDE1DD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99" y="2106"/>
                <a:ext cx="12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gemaw</a:t>
                </a:r>
              </a:p>
            </p:txBody>
          </p:sp>
          <p:sp>
            <p:nvSpPr>
              <p:cNvPr id="435" name="Rectangle 153">
                <a:extLst>
                  <a:ext uri="{FF2B5EF4-FFF2-40B4-BE49-F238E27FC236}">
                    <a16:creationId xmlns:a16="http://schemas.microsoft.com/office/drawing/2014/main" id="{78D74765-6630-4A25-8F80-8BC4C71D4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90" y="2280"/>
                <a:ext cx="108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sceola</a:t>
                </a:r>
              </a:p>
            </p:txBody>
          </p:sp>
          <p:sp>
            <p:nvSpPr>
              <p:cNvPr id="436" name="Rectangle 154">
                <a:extLst>
                  <a:ext uri="{FF2B5EF4-FFF2-40B4-BE49-F238E27FC236}">
                    <a16:creationId xmlns:a16="http://schemas.microsoft.com/office/drawing/2014/main" id="{173E93EF-ECCF-4BDC-9A8D-F462078B28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81" y="1978"/>
                <a:ext cx="10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scoda</a:t>
                </a:r>
              </a:p>
            </p:txBody>
          </p:sp>
          <p:sp>
            <p:nvSpPr>
              <p:cNvPr id="437" name="Rectangle 155">
                <a:extLst>
                  <a:ext uri="{FF2B5EF4-FFF2-40B4-BE49-F238E27FC236}">
                    <a16:creationId xmlns:a16="http://schemas.microsoft.com/office/drawing/2014/main" id="{B2D510C4-D6C2-4A75-BBFF-FC391DA40A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33" y="1874"/>
                <a:ext cx="96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tsego</a:t>
                </a:r>
              </a:p>
            </p:txBody>
          </p:sp>
          <p:sp>
            <p:nvSpPr>
              <p:cNvPr id="438" name="Rectangle 156">
                <a:extLst>
                  <a:ext uri="{FF2B5EF4-FFF2-40B4-BE49-F238E27FC236}">
                    <a16:creationId xmlns:a16="http://schemas.microsoft.com/office/drawing/2014/main" id="{F20F1A4E-41B2-4CD4-9429-184F881185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70" y="2731"/>
                <a:ext cx="100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ttawa</a:t>
                </a:r>
              </a:p>
            </p:txBody>
          </p:sp>
          <p:sp>
            <p:nvSpPr>
              <p:cNvPr id="439" name="Rectangle 157">
                <a:extLst>
                  <a:ext uri="{FF2B5EF4-FFF2-40B4-BE49-F238E27FC236}">
                    <a16:creationId xmlns:a16="http://schemas.microsoft.com/office/drawing/2014/main" id="{ABD31ED3-8943-484D-BB66-121B5554B9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476" y="1705"/>
                <a:ext cx="164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Presque Isle</a:t>
                </a:r>
              </a:p>
            </p:txBody>
          </p:sp>
          <p:sp>
            <p:nvSpPr>
              <p:cNvPr id="440" name="Rectangle 158">
                <a:extLst>
                  <a:ext uri="{FF2B5EF4-FFF2-40B4-BE49-F238E27FC236}">
                    <a16:creationId xmlns:a16="http://schemas.microsoft.com/office/drawing/2014/main" id="{B003E47B-076D-4FEB-8B12-DD52EDE3AA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341" y="2098"/>
                <a:ext cx="146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Roscommon</a:t>
                </a:r>
              </a:p>
            </p:txBody>
          </p:sp>
          <p:sp>
            <p:nvSpPr>
              <p:cNvPr id="441" name="Rectangle 159">
                <a:extLst>
                  <a:ext uri="{FF2B5EF4-FFF2-40B4-BE49-F238E27FC236}">
                    <a16:creationId xmlns:a16="http://schemas.microsoft.com/office/drawing/2014/main" id="{935AEB55-FAE7-4D38-BF57-7C6C1E0A92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589" y="2490"/>
                <a:ext cx="11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aginaw</a:t>
                </a:r>
              </a:p>
            </p:txBody>
          </p:sp>
          <p:sp>
            <p:nvSpPr>
              <p:cNvPr id="442" name="Rectangle 160">
                <a:extLst>
                  <a:ext uri="{FF2B5EF4-FFF2-40B4-BE49-F238E27FC236}">
                    <a16:creationId xmlns:a16="http://schemas.microsoft.com/office/drawing/2014/main" id="{9749B65D-CA9E-473C-B4C5-8D0E5D4D4E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980" y="2555"/>
                <a:ext cx="104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t. Clair</a:t>
                </a:r>
              </a:p>
            </p:txBody>
          </p:sp>
          <p:sp>
            <p:nvSpPr>
              <p:cNvPr id="443" name="Rectangle 161">
                <a:extLst>
                  <a:ext uri="{FF2B5EF4-FFF2-40B4-BE49-F238E27FC236}">
                    <a16:creationId xmlns:a16="http://schemas.microsoft.com/office/drawing/2014/main" id="{006B2D23-0DCE-4414-A747-1A79EF594C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251" y="3111"/>
                <a:ext cx="117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t. Joseph</a:t>
                </a:r>
              </a:p>
            </p:txBody>
          </p:sp>
          <p:sp>
            <p:nvSpPr>
              <p:cNvPr id="444" name="Rectangle 162">
                <a:extLst>
                  <a:ext uri="{FF2B5EF4-FFF2-40B4-BE49-F238E27FC236}">
                    <a16:creationId xmlns:a16="http://schemas.microsoft.com/office/drawing/2014/main" id="{E4165518-BD44-4CBE-B137-DE83769070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925" y="2398"/>
                <a:ext cx="95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anilac</a:t>
                </a:r>
              </a:p>
            </p:txBody>
          </p:sp>
          <p:sp>
            <p:nvSpPr>
              <p:cNvPr id="445" name="Rectangle 164">
                <a:extLst>
                  <a:ext uri="{FF2B5EF4-FFF2-40B4-BE49-F238E27FC236}">
                    <a16:creationId xmlns:a16="http://schemas.microsoft.com/office/drawing/2014/main" id="{18072DC4-3442-4118-82C2-7D73C0303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569" y="2645"/>
                <a:ext cx="133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Shiawassee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46" name="Rectangle 165">
                <a:extLst>
                  <a:ext uri="{FF2B5EF4-FFF2-40B4-BE49-F238E27FC236}">
                    <a16:creationId xmlns:a16="http://schemas.microsoft.com/office/drawing/2014/main" id="{81358569-5DBD-412A-85EA-346340493C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753" y="2410"/>
                <a:ext cx="103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Tuscola</a:t>
                </a:r>
              </a:p>
            </p:txBody>
          </p:sp>
          <p:sp>
            <p:nvSpPr>
              <p:cNvPr id="447" name="Rectangle 166">
                <a:extLst>
                  <a:ext uri="{FF2B5EF4-FFF2-40B4-BE49-F238E27FC236}">
                    <a16:creationId xmlns:a16="http://schemas.microsoft.com/office/drawing/2014/main" id="{FAE8461E-B47B-4090-AF18-5B32FCB807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079" y="2967"/>
                <a:ext cx="14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Van Buren</a:t>
                </a:r>
              </a:p>
            </p:txBody>
          </p:sp>
          <p:sp>
            <p:nvSpPr>
              <p:cNvPr id="448" name="Rectangle 167">
                <a:extLst>
                  <a:ext uri="{FF2B5EF4-FFF2-40B4-BE49-F238E27FC236}">
                    <a16:creationId xmlns:a16="http://schemas.microsoft.com/office/drawing/2014/main" id="{D15413BC-AC76-4D13-89B6-E9A7479C08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689" y="2898"/>
                <a:ext cx="16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Washtenaw</a:t>
                </a:r>
              </a:p>
            </p:txBody>
          </p:sp>
          <p:sp>
            <p:nvSpPr>
              <p:cNvPr id="449" name="Rectangle 168">
                <a:extLst>
                  <a:ext uri="{FF2B5EF4-FFF2-40B4-BE49-F238E27FC236}">
                    <a16:creationId xmlns:a16="http://schemas.microsoft.com/office/drawing/2014/main" id="{8A5A2732-7C94-497E-9FEE-C229379947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40915">
                <a:off x="3856" y="2851"/>
                <a:ext cx="145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578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Wayne</a:t>
                </a:r>
                <a:endParaRPr lang="en-US" altLang="en-US" sz="660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450" name="Rectangle 169">
                <a:extLst>
                  <a:ext uri="{FF2B5EF4-FFF2-40B4-BE49-F238E27FC236}">
                    <a16:creationId xmlns:a16="http://schemas.microsoft.com/office/drawing/2014/main" id="{7741E7CC-2808-43EA-9AE4-25DF06245F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3102" y="2173"/>
                <a:ext cx="101" cy="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Times" panose="02020603050405020304" pitchFamily="18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  <a:buFontTx/>
                  <a:buNone/>
                </a:pPr>
                <a:r>
                  <a:rPr lang="en-US" altLang="en-US" sz="495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Wexford</a:t>
                </a:r>
                <a:endParaRPr lang="en-US" altLang="en-US" sz="578" dirty="0">
                  <a:solidFill>
                    <a:srgbClr val="000000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72" name="Oval 371">
              <a:extLst>
                <a:ext uri="{FF2B5EF4-FFF2-40B4-BE49-F238E27FC236}">
                  <a16:creationId xmlns:a16="http://schemas.microsoft.com/office/drawing/2014/main" id="{85497C0C-5875-47F1-B5EE-ECDBF5B545C2}"/>
                </a:ext>
              </a:extLst>
            </p:cNvPr>
            <p:cNvSpPr/>
            <p:nvPr/>
          </p:nvSpPr>
          <p:spPr>
            <a:xfrm>
              <a:off x="5233948" y="4358851"/>
              <a:ext cx="79321" cy="76571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 sz="578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3" name="Oval 372">
              <a:extLst>
                <a:ext uri="{FF2B5EF4-FFF2-40B4-BE49-F238E27FC236}">
                  <a16:creationId xmlns:a16="http://schemas.microsoft.com/office/drawing/2014/main" id="{D207803C-682F-4F5F-8B39-D622D708F5B8}"/>
                </a:ext>
              </a:extLst>
            </p:cNvPr>
            <p:cNvSpPr/>
            <p:nvPr/>
          </p:nvSpPr>
          <p:spPr>
            <a:xfrm>
              <a:off x="4829402" y="4861983"/>
              <a:ext cx="81426" cy="77558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solidFill>
                <a:schemeClr val="accent3">
                  <a:lumMod val="50000"/>
                </a:schemeClr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 sz="578" b="1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520" name="Oval 519">
            <a:extLst>
              <a:ext uri="{FF2B5EF4-FFF2-40B4-BE49-F238E27FC236}">
                <a16:creationId xmlns:a16="http://schemas.microsoft.com/office/drawing/2014/main" id="{70E02406-FFAB-4D45-B6A8-297ACFBC12F4}"/>
              </a:ext>
            </a:extLst>
          </p:cNvPr>
          <p:cNvSpPr/>
          <p:nvPr/>
        </p:nvSpPr>
        <p:spPr>
          <a:xfrm>
            <a:off x="742268" y="5593818"/>
            <a:ext cx="46594" cy="46594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US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1A42169-D19C-45AB-90E4-6A0DBAA04C58}"/>
              </a:ext>
            </a:extLst>
          </p:cNvPr>
          <p:cNvSpPr/>
          <p:nvPr/>
        </p:nvSpPr>
        <p:spPr>
          <a:xfrm>
            <a:off x="4069463" y="4091942"/>
            <a:ext cx="232756" cy="206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743" b="1" kern="0" dirty="0">
                <a:solidFill>
                  <a:schemeClr val="bg1"/>
                </a:solidFill>
              </a:rPr>
              <a:t>*</a:t>
            </a:r>
            <a:endParaRPr lang="en-US" sz="1320" b="1" kern="0" dirty="0">
              <a:solidFill>
                <a:schemeClr val="bg1"/>
              </a:solidFill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AD7DB868-3CC5-45C0-9BF6-2A8E6316ACE0}"/>
              </a:ext>
            </a:extLst>
          </p:cNvPr>
          <p:cNvSpPr txBox="1">
            <a:spLocks/>
          </p:cNvSpPr>
          <p:nvPr/>
        </p:nvSpPr>
        <p:spPr>
          <a:xfrm>
            <a:off x="902485" y="5881648"/>
            <a:ext cx="2375548" cy="1269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sz="825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sion</a:t>
            </a: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CC6F0F9-C3B8-4D58-B579-C7AD8CD8F33A}"/>
              </a:ext>
            </a:extLst>
          </p:cNvPr>
          <p:cNvSpPr/>
          <p:nvPr/>
        </p:nvSpPr>
        <p:spPr>
          <a:xfrm>
            <a:off x="695674" y="5898991"/>
            <a:ext cx="139782" cy="139522"/>
          </a:xfrm>
          <a:prstGeom prst="rect">
            <a:avLst/>
          </a:prstGeom>
          <a:solidFill>
            <a:srgbClr val="92D050"/>
          </a:solidFill>
        </p:spPr>
        <p:txBody>
          <a:bodyPr wrap="square" rtlCol="0" anchor="ctr">
            <a:noAutofit/>
          </a:bodyPr>
          <a:lstStyle/>
          <a:p>
            <a:pPr algn="ctr"/>
            <a:endParaRPr lang="en-US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96F0238B-4192-46FF-8CD3-6712BDA8550B}"/>
              </a:ext>
            </a:extLst>
          </p:cNvPr>
          <p:cNvSpPr txBox="1">
            <a:spLocks/>
          </p:cNvSpPr>
          <p:nvPr/>
        </p:nvSpPr>
        <p:spPr>
          <a:xfrm>
            <a:off x="902485" y="5858166"/>
            <a:ext cx="2294459" cy="1269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defRPr/>
            </a:pPr>
            <a:r>
              <a:rPr lang="en-US" sz="825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D1E0D68B-A70F-4C07-9233-EEB5D521DC6B}"/>
              </a:ext>
            </a:extLst>
          </p:cNvPr>
          <p:cNvSpPr txBox="1">
            <a:spLocks/>
          </p:cNvSpPr>
          <p:nvPr/>
        </p:nvSpPr>
        <p:spPr>
          <a:xfrm>
            <a:off x="917124" y="5543661"/>
            <a:ext cx="2563169" cy="1269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65665">
              <a:lnSpc>
                <a:spcPct val="100000"/>
              </a:lnSpc>
              <a:defRPr/>
            </a:pPr>
            <a:r>
              <a:rPr lang="en-US" sz="825" b="0" dirty="0">
                <a:solidFill>
                  <a:srgbClr val="6364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ing MMP Counties</a:t>
            </a: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A4D17FFF-CEDE-402D-9F3F-7E950E3D8FEC}"/>
              </a:ext>
            </a:extLst>
          </p:cNvPr>
          <p:cNvSpPr/>
          <p:nvPr/>
        </p:nvSpPr>
        <p:spPr>
          <a:xfrm>
            <a:off x="2615020" y="4760051"/>
            <a:ext cx="232756" cy="206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743" b="1" kern="0" dirty="0">
                <a:solidFill>
                  <a:schemeClr val="bg1"/>
                </a:solidFill>
              </a:rPr>
              <a:t>*</a:t>
            </a:r>
          </a:p>
        </p:txBody>
      </p:sp>
      <p:pic>
        <p:nvPicPr>
          <p:cNvPr id="183" name="Picture 15" descr="A picture containing text, map&#10;&#10;Description generated with very high confidence">
            <a:extLst>
              <a:ext uri="{FF2B5EF4-FFF2-40B4-BE49-F238E27FC236}">
                <a16:creationId xmlns:a16="http://schemas.microsoft.com/office/drawing/2014/main" id="{F010981C-BE03-424B-B102-9EC03766B7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3850" y="1264263"/>
            <a:ext cx="3904645" cy="4120179"/>
          </a:xfrm>
          <a:prstGeom prst="rect">
            <a:avLst/>
          </a:prstGeom>
        </p:spPr>
      </p:pic>
      <p:grpSp>
        <p:nvGrpSpPr>
          <p:cNvPr id="185" name="Group 184">
            <a:extLst>
              <a:ext uri="{FF2B5EF4-FFF2-40B4-BE49-F238E27FC236}">
                <a16:creationId xmlns:a16="http://schemas.microsoft.com/office/drawing/2014/main" id="{211B98F0-3DEA-4447-B958-DE7AB1D04192}"/>
              </a:ext>
            </a:extLst>
          </p:cNvPr>
          <p:cNvGrpSpPr/>
          <p:nvPr/>
        </p:nvGrpSpPr>
        <p:grpSpPr>
          <a:xfrm>
            <a:off x="5972774" y="5650726"/>
            <a:ext cx="1093930" cy="251377"/>
            <a:chOff x="5121102" y="5500990"/>
            <a:chExt cx="822839" cy="369332"/>
          </a:xfrm>
        </p:grpSpPr>
        <p:sp>
          <p:nvSpPr>
            <p:cNvPr id="186" name="Content Placeholder 10">
              <a:extLst>
                <a:ext uri="{FF2B5EF4-FFF2-40B4-BE49-F238E27FC236}">
                  <a16:creationId xmlns:a16="http://schemas.microsoft.com/office/drawing/2014/main" id="{E5D7D32E-5388-4F84-B1B3-8F1F486B462F}"/>
                </a:ext>
              </a:extLst>
            </p:cNvPr>
            <p:cNvSpPr txBox="1">
              <a:spLocks/>
            </p:cNvSpPr>
            <p:nvPr/>
          </p:nvSpPr>
          <p:spPr>
            <a:xfrm>
              <a:off x="5303861" y="5500990"/>
              <a:ext cx="640080" cy="369332"/>
            </a:xfrm>
            <a:prstGeom prst="rect">
              <a:avLst/>
            </a:prstGeom>
          </p:spPr>
          <p:txBody>
            <a:bodyPr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543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81" b="1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</a:rPr>
                <a:t>Expansion</a:t>
              </a:r>
            </a:p>
          </p:txBody>
        </p:sp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C8AE25D5-7FEC-4DC4-8D94-72AEE87FACA8}"/>
                </a:ext>
              </a:extLst>
            </p:cNvPr>
            <p:cNvSpPr>
              <a:spLocks/>
            </p:cNvSpPr>
            <p:nvPr/>
          </p:nvSpPr>
          <p:spPr>
            <a:xfrm>
              <a:off x="5121102" y="5594216"/>
              <a:ext cx="182880" cy="18288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543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5" b="1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3A45E4D9-FE14-470E-8A26-8F4B35AAC9D0}"/>
              </a:ext>
            </a:extLst>
          </p:cNvPr>
          <p:cNvGrpSpPr/>
          <p:nvPr/>
        </p:nvGrpSpPr>
        <p:grpSpPr>
          <a:xfrm>
            <a:off x="5983811" y="5365965"/>
            <a:ext cx="1126830" cy="329581"/>
            <a:chOff x="6587244" y="4931991"/>
            <a:chExt cx="746050" cy="369332"/>
          </a:xfrm>
        </p:grpSpPr>
        <p:sp>
          <p:nvSpPr>
            <p:cNvPr id="192" name="Content Placeholder 10">
              <a:extLst>
                <a:ext uri="{FF2B5EF4-FFF2-40B4-BE49-F238E27FC236}">
                  <a16:creationId xmlns:a16="http://schemas.microsoft.com/office/drawing/2014/main" id="{7DD28749-FCBA-4C30-A3B2-D2AC9DC5BB84}"/>
                </a:ext>
              </a:extLst>
            </p:cNvPr>
            <p:cNvSpPr txBox="1">
              <a:spLocks/>
            </p:cNvSpPr>
            <p:nvPr/>
          </p:nvSpPr>
          <p:spPr>
            <a:xfrm>
              <a:off x="6769892" y="4931991"/>
              <a:ext cx="563402" cy="369332"/>
            </a:xfrm>
            <a:prstGeom prst="rect">
              <a:avLst/>
            </a:prstGeom>
          </p:spPr>
          <p:txBody>
            <a:bodyPr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7543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81" b="1" dirty="0">
                  <a:solidFill>
                    <a:srgbClr val="000000">
                      <a:lumMod val="85000"/>
                      <a:lumOff val="15000"/>
                    </a:srgbClr>
                  </a:solidFill>
                  <a:latin typeface="Arial"/>
                </a:rPr>
                <a:t>Current</a:t>
              </a:r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39511DCA-A879-49A3-A4AB-23672AD10295}"/>
                </a:ext>
              </a:extLst>
            </p:cNvPr>
            <p:cNvSpPr>
              <a:spLocks/>
            </p:cNvSpPr>
            <p:nvPr/>
          </p:nvSpPr>
          <p:spPr>
            <a:xfrm>
              <a:off x="6587244" y="5068132"/>
              <a:ext cx="160864" cy="120661"/>
            </a:xfrm>
            <a:prstGeom prst="rect">
              <a:avLst/>
            </a:prstGeom>
            <a:solidFill>
              <a:srgbClr val="00A0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543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545" b="1" dirty="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5363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 2">
  <a:themeElements>
    <a:clrScheme name="MOLINA">
      <a:dk1>
        <a:srgbClr val="00A0AF"/>
      </a:dk1>
      <a:lt1>
        <a:srgbClr val="FFFFFF"/>
      </a:lt1>
      <a:dk2>
        <a:srgbClr val="636466"/>
      </a:dk2>
      <a:lt2>
        <a:srgbClr val="B1B2B3"/>
      </a:lt2>
      <a:accent1>
        <a:srgbClr val="C4D600"/>
      </a:accent1>
      <a:accent2>
        <a:srgbClr val="00A0AF"/>
      </a:accent2>
      <a:accent3>
        <a:srgbClr val="636466"/>
      </a:accent3>
      <a:accent4>
        <a:srgbClr val="B1B2B3"/>
      </a:accent4>
      <a:accent5>
        <a:srgbClr val="FFFFFF"/>
      </a:accent5>
      <a:accent6>
        <a:srgbClr val="C4D600"/>
      </a:accent6>
      <a:hlink>
        <a:srgbClr val="00A0AF"/>
      </a:hlink>
      <a:folHlink>
        <a:srgbClr val="00A0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ection Divider">
  <a:themeElements>
    <a:clrScheme name="MOLINA">
      <a:dk1>
        <a:srgbClr val="00A0AF"/>
      </a:dk1>
      <a:lt1>
        <a:srgbClr val="FFFFFF"/>
      </a:lt1>
      <a:dk2>
        <a:srgbClr val="636466"/>
      </a:dk2>
      <a:lt2>
        <a:srgbClr val="B1B2B3"/>
      </a:lt2>
      <a:accent1>
        <a:srgbClr val="C4D600"/>
      </a:accent1>
      <a:accent2>
        <a:srgbClr val="00A0AF"/>
      </a:accent2>
      <a:accent3>
        <a:srgbClr val="636466"/>
      </a:accent3>
      <a:accent4>
        <a:srgbClr val="B1B2B3"/>
      </a:accent4>
      <a:accent5>
        <a:srgbClr val="FFFFFF"/>
      </a:accent5>
      <a:accent6>
        <a:srgbClr val="C4D600"/>
      </a:accent6>
      <a:hlink>
        <a:srgbClr val="00A0AF"/>
      </a:hlink>
      <a:folHlink>
        <a:srgbClr val="00A0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lide1">
  <a:themeElements>
    <a:clrScheme name="MOLINA">
      <a:dk1>
        <a:srgbClr val="00A0AF"/>
      </a:dk1>
      <a:lt1>
        <a:srgbClr val="FFFFFF"/>
      </a:lt1>
      <a:dk2>
        <a:srgbClr val="636466"/>
      </a:dk2>
      <a:lt2>
        <a:srgbClr val="B1B2B3"/>
      </a:lt2>
      <a:accent1>
        <a:srgbClr val="C4D600"/>
      </a:accent1>
      <a:accent2>
        <a:srgbClr val="00A0AF"/>
      </a:accent2>
      <a:accent3>
        <a:srgbClr val="636466"/>
      </a:accent3>
      <a:accent4>
        <a:srgbClr val="B1B2B3"/>
      </a:accent4>
      <a:accent5>
        <a:srgbClr val="FFFFFF"/>
      </a:accent5>
      <a:accent6>
        <a:srgbClr val="C4D600"/>
      </a:accent6>
      <a:hlink>
        <a:srgbClr val="00A0AF"/>
      </a:hlink>
      <a:folHlink>
        <a:srgbClr val="00A0A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>
        <a:noAutofit/>
      </a:bodyPr>
      <a:lstStyle>
        <a:defPPr marL="342900" marR="0" indent="-342900" algn="l" defTabSz="914400" rtl="0" eaLnBrk="1" fontAlgn="auto" latinLnBrk="0" hangingPunct="1">
          <a:lnSpc>
            <a:spcPct val="100000"/>
          </a:lnSpc>
          <a:spcBef>
            <a:spcPct val="20000"/>
          </a:spcBef>
          <a:spcAft>
            <a:spcPts val="0"/>
          </a:spcAft>
          <a:buClrTx/>
          <a:buSzTx/>
          <a:buFontTx/>
          <a:buNone/>
          <a:tabLst/>
          <a:defRPr kumimoji="0" sz="1600" b="1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Arial" pitchFamily="34" charset="0"/>
            <a:ea typeface="+mn-ea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6A61C812E76A48883F43A2FECD2C52" ma:contentTypeVersion="9" ma:contentTypeDescription="Create a new document." ma:contentTypeScope="" ma:versionID="5a268fdc4ed97f8813f8329e7fc1c23b">
  <xsd:schema xmlns:xsd="http://www.w3.org/2001/XMLSchema" xmlns:xs="http://www.w3.org/2001/XMLSchema" xmlns:p="http://schemas.microsoft.com/office/2006/metadata/properties" xmlns:ns3="d87c16af-3569-485c-8ca2-b1d34094779b" targetNamespace="http://schemas.microsoft.com/office/2006/metadata/properties" ma:root="true" ma:fieldsID="70c87c0ad335ce8973995c9c48bdbf53" ns3:_="">
    <xsd:import namespace="d87c16af-3569-485c-8ca2-b1d34094779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7c16af-3569-485c-8ca2-b1d34094779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A22FE44-9031-407B-8692-988457D4D1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5C0A1CC-48C0-46CB-B591-03F7226C0D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87c16af-3569-485c-8ca2-b1d3409477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D3EA30C-E2D8-4F52-9695-A5D9D027A3F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L-030_Templates-PowerPoint_FINAL.pot</Template>
  <TotalTime>1610</TotalTime>
  <Words>111</Words>
  <Application>Microsoft Office PowerPoint</Application>
  <PresentationFormat>Custom</PresentationFormat>
  <Paragraphs>8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Myriad Pro</vt:lpstr>
      <vt:lpstr>Times New Roman</vt:lpstr>
      <vt:lpstr>Title Slide 2</vt:lpstr>
      <vt:lpstr>Section Divider</vt:lpstr>
      <vt:lpstr>Slide1</vt:lpstr>
      <vt:lpstr>2_Office Theme</vt:lpstr>
      <vt:lpstr>think-cell Slide</vt:lpstr>
      <vt:lpstr>21 new Medicare counties for 2021 – 2 new Marketplace counties for 2021</vt:lpstr>
    </vt:vector>
  </TitlesOfParts>
  <Company>Magnani Continuum Marke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here on one or two lines.</dc:title>
  <dc:creator>Muffins</dc:creator>
  <cp:lastModifiedBy>Hurst, Julie</cp:lastModifiedBy>
  <cp:revision>70</cp:revision>
  <dcterms:created xsi:type="dcterms:W3CDTF">2014-07-29T20:38:38Z</dcterms:created>
  <dcterms:modified xsi:type="dcterms:W3CDTF">2020-10-29T21:2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6A61C812E76A48883F43A2FECD2C52</vt:lpwstr>
  </property>
  <property fmtid="{D5CDD505-2E9C-101B-9397-08002B2CF9AE}" pid="3" name="Semaphore.Score.Field:6bde2c7d-7114-48b3-8cb7-02074d1d4d72">
    <vt:lpwstr>[]</vt:lpwstr>
  </property>
  <property fmtid="{D5CDD505-2E9C-101B-9397-08002B2CF9AE}" pid="4" name="Semaphore.Score.Field:aa4a519a-fd49-4b0f-9914-a60f3c8a6cb0">
    <vt:lpwstr>[]</vt:lpwstr>
  </property>
  <property fmtid="{D5CDD505-2E9C-101B-9397-08002B2CF9AE}" pid="5" name="Smartlogic_MHI_ConceptEntity">
    <vt:lpwstr/>
  </property>
  <property fmtid="{D5CDD505-2E9C-101B-9397-08002B2CF9AE}" pid="6" name="Semaphore.Score.Field:f5f13365-f7ec-4895-a08a-bc94dbcbac5b">
    <vt:lpwstr>[{"Id":"010befb3-5b02-40e2-a444-344e029625f3","Name":"No","Score":100,"Tag":"No"}]</vt:lpwstr>
  </property>
  <property fmtid="{D5CDD505-2E9C-101B-9397-08002B2CF9AE}" pid="7" name="Semaphore.Score.Field:1bfcbeda-ed84-4afe-b5ad-faffa54b2399">
    <vt:lpwstr>[]</vt:lpwstr>
  </property>
  <property fmtid="{D5CDD505-2E9C-101B-9397-08002B2CF9AE}" pid="8" name="Semaphore.Score.Field:2d0cfe8e-7bf7-4073-a252-d1ad7a8ca42e">
    <vt:lpwstr>[]</vt:lpwstr>
  </property>
  <property fmtid="{D5CDD505-2E9C-101B-9397-08002B2CF9AE}" pid="9" name="Semaphore.Score.Field:9b272285-a3cf-4bcc-962d-7a4f76007378">
    <vt:lpwstr>[]</vt:lpwstr>
  </property>
  <property fmtid="{D5CDD505-2E9C-101B-9397-08002B2CF9AE}" pid="10" name="Semaphore.Score.Field:6d0a473a-71b0-4e05-8df5-23c32baf9b18">
    <vt:lpwstr>[]</vt:lpwstr>
  </property>
  <property fmtid="{D5CDD505-2E9C-101B-9397-08002B2CF9AE}" pid="11" name="Semaphore.Score.Field:c3a3faaa-d328-4dda-b45d-c1779a5f0817">
    <vt:lpwstr>[]</vt:lpwstr>
  </property>
</Properties>
</file>